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2.xml" ContentType="application/vnd.openxmlformats-officedocument.theme+xml"/>
  <Override PartName="/ppt/tags/tag13.xml" ContentType="application/vnd.openxmlformats-officedocument.presentationml.tags+xml"/>
  <Override PartName="/ppt/slideLayouts/slideLayout57.xml" ContentType="application/vnd.openxmlformats-officedocument.presentationml.slideLayout+xml"/>
  <Override PartName="/ppt/theme/theme13.xml" ContentType="application/vnd.openxmlformats-officedocument.theme+xml"/>
  <Override PartName="/ppt/tags/tag14.xml" ContentType="application/vnd.openxmlformats-officedocument.presentationml.tags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tags/tag15.xml" ContentType="application/vnd.openxmlformats-officedocument.presentationml.tags+xml"/>
  <Override PartName="/ppt/slideLayouts/slideLayout59.xml" ContentType="application/vnd.openxmlformats-officedocument.presentationml.slideLayout+xml"/>
  <Override PartName="/ppt/theme/theme15.xml" ContentType="application/vnd.openxmlformats-officedocument.theme+xml"/>
  <Override PartName="/ppt/tags/tag16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0" r:id="rId1"/>
    <p:sldMasterId id="2147483755" r:id="rId2"/>
    <p:sldMasterId id="2147483758" r:id="rId3"/>
    <p:sldMasterId id="2147483790" r:id="rId4"/>
    <p:sldMasterId id="2147483743" r:id="rId5"/>
    <p:sldMasterId id="2147483737" r:id="rId6"/>
    <p:sldMasterId id="2147483747" r:id="rId7"/>
    <p:sldMasterId id="2147483751" r:id="rId8"/>
    <p:sldMasterId id="2147483760" r:id="rId9"/>
    <p:sldMasterId id="2147483775" r:id="rId10"/>
    <p:sldMasterId id="2147483779" r:id="rId11"/>
    <p:sldMasterId id="2147483783" r:id="rId12"/>
    <p:sldMasterId id="2147483773" r:id="rId13"/>
    <p:sldMasterId id="2147483753" r:id="rId14"/>
    <p:sldMasterId id="2147483786" r:id="rId15"/>
  </p:sldMasterIdLst>
  <p:notesMasterIdLst>
    <p:notesMasterId r:id="rId20"/>
  </p:notesMasterIdLst>
  <p:handoutMasterIdLst>
    <p:handoutMasterId r:id="rId21"/>
  </p:handoutMasterIdLst>
  <p:sldIdLst>
    <p:sldId id="742" r:id="rId16"/>
    <p:sldId id="755" r:id="rId17"/>
    <p:sldId id="756" r:id="rId18"/>
    <p:sldId id="753" r:id="rId19"/>
  </p:sldIdLst>
  <p:sldSz cx="9144000" cy="5143500" type="screen16x9"/>
  <p:notesSz cx="6735763" cy="9866313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41E87-A5BA-ED40-78AD-8EB7C2393153}" name="BOUCARD Typhaine" initials="BT" userId="S::tboucard@cesi.fr::fdd0fd7c-95ac-4383-8116-aa7e4b9c5e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LAIZET Camille" initials="BC" lastIdx="2" clrIdx="0">
    <p:extLst>
      <p:ext uri="{19B8F6BF-5375-455C-9EA6-DF929625EA0E}">
        <p15:presenceInfo xmlns:p15="http://schemas.microsoft.com/office/powerpoint/2012/main" userId="S-1-5-21-2042676196-1886416795-188883478-40964" providerId="AD"/>
      </p:ext>
    </p:extLst>
  </p:cmAuthor>
  <p:cmAuthor id="2" name="BOUCARD Typhaine" initials="BT" lastIdx="5" clrIdx="1">
    <p:extLst>
      <p:ext uri="{19B8F6BF-5375-455C-9EA6-DF929625EA0E}">
        <p15:presenceInfo xmlns:p15="http://schemas.microsoft.com/office/powerpoint/2012/main" userId="S-1-5-21-2042676196-1886416795-188883478-44124" providerId="AD"/>
      </p:ext>
    </p:extLst>
  </p:cmAuthor>
  <p:cmAuthor id="3" name="SAVEUSE Morgan" initials="SM" lastIdx="3" clrIdx="2">
    <p:extLst>
      <p:ext uri="{19B8F6BF-5375-455C-9EA6-DF929625EA0E}">
        <p15:presenceInfo xmlns:p15="http://schemas.microsoft.com/office/powerpoint/2012/main" userId="S-1-5-21-2042676196-1886416795-188883478-21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9" autoAdjust="0"/>
    <p:restoredTop sz="96327" autoAdjust="0"/>
  </p:normalViewPr>
  <p:slideViewPr>
    <p:cSldViewPr snapToGrid="0" showGuides="1">
      <p:cViewPr varScale="1">
        <p:scale>
          <a:sx n="104" d="100"/>
          <a:sy n="104" d="100"/>
        </p:scale>
        <p:origin x="835" y="72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4" d="100"/>
          <a:sy n="74" d="100"/>
        </p:scale>
        <p:origin x="238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VARD Laurent" userId="39cc2d39-05c9-471e-8a36-f6392a8bd76f" providerId="ADAL" clId="{6AB41DF3-68BC-42DB-9ED1-EF4E675F5647}"/>
    <pc:docChg chg="undo custSel addSld delSld modSld">
      <pc:chgData name="PAVARD Laurent" userId="39cc2d39-05c9-471e-8a36-f6392a8bd76f" providerId="ADAL" clId="{6AB41DF3-68BC-42DB-9ED1-EF4E675F5647}" dt="2025-11-04T08:37:18.751" v="139" actId="20577"/>
      <pc:docMkLst>
        <pc:docMk/>
      </pc:docMkLst>
      <pc:sldChg chg="modSp mod">
        <pc:chgData name="PAVARD Laurent" userId="39cc2d39-05c9-471e-8a36-f6392a8bd76f" providerId="ADAL" clId="{6AB41DF3-68BC-42DB-9ED1-EF4E675F5647}" dt="2025-11-04T08:27:07.940" v="14" actId="20577"/>
        <pc:sldMkLst>
          <pc:docMk/>
          <pc:sldMk cId="1857262541" sldId="742"/>
        </pc:sldMkLst>
        <pc:spChg chg="mod">
          <ac:chgData name="PAVARD Laurent" userId="39cc2d39-05c9-471e-8a36-f6392a8bd76f" providerId="ADAL" clId="{6AB41DF3-68BC-42DB-9ED1-EF4E675F5647}" dt="2025-11-04T08:27:07.940" v="14" actId="20577"/>
          <ac:spMkLst>
            <pc:docMk/>
            <pc:sldMk cId="1857262541" sldId="742"/>
            <ac:spMk id="4" creationId="{DFBD0107-56ED-67A1-BC4F-81D0388F4F3C}"/>
          </ac:spMkLst>
        </pc:spChg>
      </pc:sldChg>
      <pc:sldChg chg="del">
        <pc:chgData name="PAVARD Laurent" userId="39cc2d39-05c9-471e-8a36-f6392a8bd76f" providerId="ADAL" clId="{6AB41DF3-68BC-42DB-9ED1-EF4E675F5647}" dt="2025-11-04T08:32:37.167" v="32" actId="47"/>
        <pc:sldMkLst>
          <pc:docMk/>
          <pc:sldMk cId="4187991884" sldId="744"/>
        </pc:sldMkLst>
      </pc:sldChg>
      <pc:sldChg chg="del">
        <pc:chgData name="PAVARD Laurent" userId="39cc2d39-05c9-471e-8a36-f6392a8bd76f" providerId="ADAL" clId="{6AB41DF3-68BC-42DB-9ED1-EF4E675F5647}" dt="2025-11-04T08:32:35.005" v="31" actId="47"/>
        <pc:sldMkLst>
          <pc:docMk/>
          <pc:sldMk cId="216721427" sldId="754"/>
        </pc:sldMkLst>
      </pc:sldChg>
      <pc:sldChg chg="addSp delSp modSp new mod">
        <pc:chgData name="PAVARD Laurent" userId="39cc2d39-05c9-471e-8a36-f6392a8bd76f" providerId="ADAL" clId="{6AB41DF3-68BC-42DB-9ED1-EF4E675F5647}" dt="2025-11-04T08:37:18.751" v="139" actId="20577"/>
        <pc:sldMkLst>
          <pc:docMk/>
          <pc:sldMk cId="1850431957" sldId="755"/>
        </pc:sldMkLst>
        <pc:spChg chg="mod">
          <ac:chgData name="PAVARD Laurent" userId="39cc2d39-05c9-471e-8a36-f6392a8bd76f" providerId="ADAL" clId="{6AB41DF3-68BC-42DB-9ED1-EF4E675F5647}" dt="2025-11-04T08:33:30.904" v="68" actId="20577"/>
          <ac:spMkLst>
            <pc:docMk/>
            <pc:sldMk cId="1850431957" sldId="755"/>
            <ac:spMk id="2" creationId="{7445CAD2-9EC0-7CF1-B046-6CEDA1AE9B2A}"/>
          </ac:spMkLst>
        </pc:spChg>
        <pc:spChg chg="add del">
          <ac:chgData name="PAVARD Laurent" userId="39cc2d39-05c9-471e-8a36-f6392a8bd76f" providerId="ADAL" clId="{6AB41DF3-68BC-42DB-9ED1-EF4E675F5647}" dt="2025-11-04T08:31:39.552" v="22"/>
          <ac:spMkLst>
            <pc:docMk/>
            <pc:sldMk cId="1850431957" sldId="755"/>
            <ac:spMk id="3" creationId="{D300D1D6-B20D-5B93-9452-E440FC14FE1C}"/>
          </ac:spMkLst>
        </pc:spChg>
        <pc:spChg chg="add mod">
          <ac:chgData name="PAVARD Laurent" userId="39cc2d39-05c9-471e-8a36-f6392a8bd76f" providerId="ADAL" clId="{6AB41DF3-68BC-42DB-9ED1-EF4E675F5647}" dt="2025-11-04T08:31:28.186" v="17"/>
          <ac:spMkLst>
            <pc:docMk/>
            <pc:sldMk cId="1850431957" sldId="755"/>
            <ac:spMk id="7" creationId="{18795F5F-DAAD-A16A-C18E-2B1B317A7459}"/>
          </ac:spMkLst>
        </pc:spChg>
        <pc:spChg chg="add mod">
          <ac:chgData name="PAVARD Laurent" userId="39cc2d39-05c9-471e-8a36-f6392a8bd76f" providerId="ADAL" clId="{6AB41DF3-68BC-42DB-9ED1-EF4E675F5647}" dt="2025-11-04T08:31:37.340" v="21"/>
          <ac:spMkLst>
            <pc:docMk/>
            <pc:sldMk cId="1850431957" sldId="755"/>
            <ac:spMk id="9" creationId="{D5EF7E48-1455-035D-1DB9-1C2BA7FB7C46}"/>
          </ac:spMkLst>
        </pc:spChg>
        <pc:spChg chg="add del mod">
          <ac:chgData name="PAVARD Laurent" userId="39cc2d39-05c9-471e-8a36-f6392a8bd76f" providerId="ADAL" clId="{6AB41DF3-68BC-42DB-9ED1-EF4E675F5647}" dt="2025-11-04T08:31:42.749" v="23" actId="21"/>
          <ac:spMkLst>
            <pc:docMk/>
            <pc:sldMk cId="1850431957" sldId="755"/>
            <ac:spMk id="11" creationId="{ED0BFF32-DD3C-5F7A-B235-07F9921989D4}"/>
          </ac:spMkLst>
        </pc:spChg>
        <pc:spChg chg="add mod">
          <ac:chgData name="PAVARD Laurent" userId="39cc2d39-05c9-471e-8a36-f6392a8bd76f" providerId="ADAL" clId="{6AB41DF3-68BC-42DB-9ED1-EF4E675F5647}" dt="2025-11-04T08:37:18.751" v="139" actId="20577"/>
          <ac:spMkLst>
            <pc:docMk/>
            <pc:sldMk cId="1850431957" sldId="755"/>
            <ac:spMk id="12" creationId="{B4BE9269-1D5F-627B-470D-A66FC93742AA}"/>
          </ac:spMkLst>
        </pc:spChg>
        <pc:graphicFrameChg chg="add mod">
          <ac:chgData name="PAVARD Laurent" userId="39cc2d39-05c9-471e-8a36-f6392a8bd76f" providerId="ADAL" clId="{6AB41DF3-68BC-42DB-9ED1-EF4E675F5647}" dt="2025-11-04T08:31:25.519" v="16"/>
          <ac:graphicFrameMkLst>
            <pc:docMk/>
            <pc:sldMk cId="1850431957" sldId="755"/>
            <ac:graphicFrameMk id="6" creationId="{38AE9102-952E-8A3D-E7EA-54A04BAE747E}"/>
          </ac:graphicFrameMkLst>
        </pc:graphicFrameChg>
        <pc:graphicFrameChg chg="add mod">
          <ac:chgData name="PAVARD Laurent" userId="39cc2d39-05c9-471e-8a36-f6392a8bd76f" providerId="ADAL" clId="{6AB41DF3-68BC-42DB-9ED1-EF4E675F5647}" dt="2025-11-04T08:31:29.080" v="18"/>
          <ac:graphicFrameMkLst>
            <pc:docMk/>
            <pc:sldMk cId="1850431957" sldId="755"/>
            <ac:graphicFrameMk id="8" creationId="{B4D684F6-E49C-FBA3-4D45-0D33A7AA9F96}"/>
          </ac:graphicFrameMkLst>
        </pc:graphicFrameChg>
        <pc:graphicFrameChg chg="add del mod">
          <ac:chgData name="PAVARD Laurent" userId="39cc2d39-05c9-471e-8a36-f6392a8bd76f" providerId="ADAL" clId="{6AB41DF3-68BC-42DB-9ED1-EF4E675F5647}" dt="2025-11-04T08:31:42.749" v="23" actId="21"/>
          <ac:graphicFrameMkLst>
            <pc:docMk/>
            <pc:sldMk cId="1850431957" sldId="755"/>
            <ac:graphicFrameMk id="10" creationId="{11D8D709-8003-1B3E-8A56-FF902FD9E37E}"/>
          </ac:graphicFrameMkLst>
        </pc:graphicFrameChg>
        <pc:graphicFrameChg chg="add mod">
          <ac:chgData name="PAVARD Laurent" userId="39cc2d39-05c9-471e-8a36-f6392a8bd76f" providerId="ADAL" clId="{6AB41DF3-68BC-42DB-9ED1-EF4E675F5647}" dt="2025-11-04T08:32:20.577" v="30" actId="1076"/>
          <ac:graphicFrameMkLst>
            <pc:docMk/>
            <pc:sldMk cId="1850431957" sldId="755"/>
            <ac:graphicFrameMk id="13" creationId="{3FA420E1-F41D-D011-140D-1115D7199222}"/>
          </ac:graphicFrameMkLst>
        </pc:graphicFrameChg>
      </pc:sldChg>
      <pc:sldChg chg="delSp modSp add mod">
        <pc:chgData name="PAVARD Laurent" userId="39cc2d39-05c9-471e-8a36-f6392a8bd76f" providerId="ADAL" clId="{6AB41DF3-68BC-42DB-9ED1-EF4E675F5647}" dt="2025-11-04T08:35:19.552" v="138" actId="14100"/>
        <pc:sldMkLst>
          <pc:docMk/>
          <pc:sldMk cId="743714314" sldId="756"/>
        </pc:sldMkLst>
        <pc:spChg chg="mod">
          <ac:chgData name="PAVARD Laurent" userId="39cc2d39-05c9-471e-8a36-f6392a8bd76f" providerId="ADAL" clId="{6AB41DF3-68BC-42DB-9ED1-EF4E675F5647}" dt="2025-11-04T08:33:39.082" v="81" actId="20577"/>
          <ac:spMkLst>
            <pc:docMk/>
            <pc:sldMk cId="743714314" sldId="756"/>
            <ac:spMk id="2" creationId="{7445CAD2-9EC0-7CF1-B046-6CEDA1AE9B2A}"/>
          </ac:spMkLst>
        </pc:spChg>
        <pc:spChg chg="mod">
          <ac:chgData name="PAVARD Laurent" userId="39cc2d39-05c9-471e-8a36-f6392a8bd76f" providerId="ADAL" clId="{6AB41DF3-68BC-42DB-9ED1-EF4E675F5647}" dt="2025-11-04T08:35:19.552" v="138" actId="14100"/>
          <ac:spMkLst>
            <pc:docMk/>
            <pc:sldMk cId="743714314" sldId="756"/>
            <ac:spMk id="12" creationId="{B4BE9269-1D5F-627B-470D-A66FC93742AA}"/>
          </ac:spMkLst>
        </pc:spChg>
        <pc:graphicFrameChg chg="del">
          <ac:chgData name="PAVARD Laurent" userId="39cc2d39-05c9-471e-8a36-f6392a8bd76f" providerId="ADAL" clId="{6AB41DF3-68BC-42DB-9ED1-EF4E675F5647}" dt="2025-11-04T08:34:11.793" v="84" actId="478"/>
          <ac:graphicFrameMkLst>
            <pc:docMk/>
            <pc:sldMk cId="743714314" sldId="756"/>
            <ac:graphicFrameMk id="13" creationId="{3FA420E1-F41D-D011-140D-1115D7199222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3C18F7F-ED04-A837-13F6-AD24F8C44C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A3052A-C9B3-F9EB-6E09-0081E56615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802997-560F-4418-B516-7F0BF6EDE1EB}" type="datetimeFigureOut">
              <a:rPr lang="en-US" smtClean="0"/>
              <a:t>11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EA080D-5CE4-A57F-BB1B-AE8BD892BF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BE0389-5AA1-3C79-DE49-35767665943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BD5473-D958-4578-ADFB-09122FE8428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0156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826AE-0B90-4D83-9B37-632D06ABF732}" type="datetimeFigureOut">
              <a:rPr lang="en-US" smtClean="0"/>
              <a:t>11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37FE26-9D4A-41BC-B606-B8741F968A53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831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OK Prévoir</a:t>
            </a:r>
            <a:r>
              <a:rPr lang="fr-FR" baseline="0" dirty="0"/>
              <a:t> une version avec fond blanc</a:t>
            </a:r>
            <a:endParaRPr lang="fr-F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37FE26-9D4A-41BC-B606-B8741F968A5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0947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à </a:t>
            </a:r>
            <a:r>
              <a:rPr lang="en-US" dirty="0" err="1"/>
              <a:t>recadrer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37FE26-9D4A-41BC-B606-B8741F968A5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159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7C6B83CF-B223-5071-F1F2-5D030860FE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48456" y="4780080"/>
            <a:ext cx="1786823" cy="1384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lang="fr-FR" sz="900" cap="all" spc="300" baseline="0" smtClean="0"/>
            </a:lvl1pPr>
          </a:lstStyle>
          <a:p>
            <a:pPr algn="ctr" defTabSz="685800">
              <a:buFont typeface="Arial" panose="020B0604020202020204" pitchFamily="34" charset="0"/>
              <a:buNone/>
            </a:pPr>
            <a:fld id="{E885B6AA-B05E-A841-8D38-D9C08D3DF0B9}" type="datetime2">
              <a:rPr lang="fr-FR" smtClean="0"/>
              <a:t>mardi 4 novembre 2025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9C7CB97-F141-35DE-FD69-BE60DD4A2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7366" y="2383392"/>
            <a:ext cx="3758755" cy="8617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800" cap="all" baseline="0"/>
            </a:lvl1pPr>
          </a:lstStyle>
          <a:p>
            <a:r>
              <a:rPr lang="fr-FR" noProof="1"/>
              <a:t>nom de la présent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E5C538-A3A2-CD13-69BC-50D9ABC14F40}"/>
              </a:ext>
            </a:extLst>
          </p:cNvPr>
          <p:cNvSpPr/>
          <p:nvPr userDrawn="1"/>
        </p:nvSpPr>
        <p:spPr>
          <a:xfrm>
            <a:off x="4783538" y="1442871"/>
            <a:ext cx="4360462" cy="21103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FD0C6F7-7607-FF25-E8DA-DF20DD9C65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75333" y="674647"/>
            <a:ext cx="3067200" cy="36468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pic>
        <p:nvPicPr>
          <p:cNvPr id="7" name="Graphic 76">
            <a:extLst>
              <a:ext uri="{FF2B5EF4-FFF2-40B4-BE49-F238E27FC236}">
                <a16:creationId xmlns:a16="http://schemas.microsoft.com/office/drawing/2014/main" id="{8E34DD3E-0F46-97A1-0C2E-2ECA25D9BB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7367" y="1319537"/>
            <a:ext cx="1577651" cy="74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5243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with his hands in his pockets&#10;&#10;Description automatically generated">
            <a:extLst>
              <a:ext uri="{FF2B5EF4-FFF2-40B4-BE49-F238E27FC236}">
                <a16:creationId xmlns:a16="http://schemas.microsoft.com/office/drawing/2014/main" id="{EBC4EFB0-D72A-2771-9141-68282CD60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8"/>
          <a:stretch/>
        </p:blipFill>
        <p:spPr>
          <a:xfrm>
            <a:off x="3556000" y="0"/>
            <a:ext cx="4654550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36BC612-E414-4B4E-324D-D19995A2889F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6C2AE31-3CDA-F432-F0EE-E213FBBD57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0DAA3E5D-DBF4-BFA6-9A51-589CE49B36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D6133C7-1C3F-4F75-240D-1882A9EF46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6" name="Picture 5" descr="A person with his hands in his pockets&#10;&#10;Description automatically generated">
            <a:extLst>
              <a:ext uri="{FF2B5EF4-FFF2-40B4-BE49-F238E27FC236}">
                <a16:creationId xmlns:a16="http://schemas.microsoft.com/office/drawing/2014/main" id="{BF1091F1-86FD-F4C3-D516-7AABB89FDD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46" t="-359"/>
          <a:stretch/>
        </p:blipFill>
        <p:spPr>
          <a:xfrm>
            <a:off x="5588001" y="838199"/>
            <a:ext cx="3556000" cy="4305301"/>
          </a:xfrm>
          <a:prstGeom prst="rect">
            <a:avLst/>
          </a:prstGeom>
        </p:spPr>
      </p:pic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7F0397F-EA25-2A97-D382-844DF310E7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Title 5">
            <a:extLst>
              <a:ext uri="{FF2B5EF4-FFF2-40B4-BE49-F238E27FC236}">
                <a16:creationId xmlns:a16="http://schemas.microsoft.com/office/drawing/2014/main" id="{A850B843-D5EA-1F09-28FD-DB47F59B0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</p:spTree>
    <p:extLst>
      <p:ext uri="{BB962C8B-B14F-4D97-AF65-F5344CB8AC3E}">
        <p14:creationId xmlns:p14="http://schemas.microsoft.com/office/powerpoint/2010/main" val="11955624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6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in a green suit&#10;&#10;Description automatically generated">
            <a:extLst>
              <a:ext uri="{FF2B5EF4-FFF2-40B4-BE49-F238E27FC236}">
                <a16:creationId xmlns:a16="http://schemas.microsoft.com/office/drawing/2014/main" id="{6DD5C89D-3862-84BD-7D76-FEE76D8EA1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11" r="11938" b="50000"/>
          <a:stretch/>
        </p:blipFill>
        <p:spPr>
          <a:xfrm>
            <a:off x="3077474" y="0"/>
            <a:ext cx="6066526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5F2C9DD3-147E-C569-1785-D217F41751C7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32CF2821-1A18-8BC6-6A70-78BA60C334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3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1" name="Title 5">
            <a:extLst>
              <a:ext uri="{FF2B5EF4-FFF2-40B4-BE49-F238E27FC236}">
                <a16:creationId xmlns:a16="http://schemas.microsoft.com/office/drawing/2014/main" id="{4ECBFD39-1B9C-44A6-A5A9-A06F20346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E7352F09-0939-B851-C08E-4964A7FA58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1A4B08DB-97FE-1FD6-D675-009EA3D1CE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5CAEC69D-D6CE-5C29-8C1D-7AE10150CB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5" name="Picture 4" descr="A person in a green suit&#10;&#10;Description automatically generated">
            <a:extLst>
              <a:ext uri="{FF2B5EF4-FFF2-40B4-BE49-F238E27FC236}">
                <a16:creationId xmlns:a16="http://schemas.microsoft.com/office/drawing/2014/main" id="{280B45EC-56A5-C0F9-C010-8E48899CB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314" b="34574"/>
          <a:stretch/>
        </p:blipFill>
        <p:spPr>
          <a:xfrm>
            <a:off x="5793227" y="457200"/>
            <a:ext cx="3350772" cy="468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129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in a suit holding a computer and talking on a cell phone&#10;&#10;Description automatically generated">
            <a:extLst>
              <a:ext uri="{FF2B5EF4-FFF2-40B4-BE49-F238E27FC236}">
                <a16:creationId xmlns:a16="http://schemas.microsoft.com/office/drawing/2014/main" id="{588E3416-2C22-A4FC-540A-735486BAA2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150" b="29854"/>
          <a:stretch/>
        </p:blipFill>
        <p:spPr>
          <a:xfrm>
            <a:off x="3949877" y="0"/>
            <a:ext cx="4082796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5F2C9DD3-147E-C569-1785-D217F41751C7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32CF2821-1A18-8BC6-6A70-78BA60C334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3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1" name="Title 5">
            <a:extLst>
              <a:ext uri="{FF2B5EF4-FFF2-40B4-BE49-F238E27FC236}">
                <a16:creationId xmlns:a16="http://schemas.microsoft.com/office/drawing/2014/main" id="{4ECBFD39-1B9C-44A6-A5A9-A06F20346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E7352F09-0939-B851-C08E-4964A7FA58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1A4B08DB-97FE-1FD6-D675-009EA3D1CE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5CAEC69D-D6CE-5C29-8C1D-7AE10150CB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3" name="Picture 2" descr="A person in a suit holding a computer and talking on a cell phone&#10;&#10;Description automatically generated">
            <a:extLst>
              <a:ext uri="{FF2B5EF4-FFF2-40B4-BE49-F238E27FC236}">
                <a16:creationId xmlns:a16="http://schemas.microsoft.com/office/drawing/2014/main" id="{E40DE376-A061-6515-01E9-B6CC383959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837"/>
          <a:stretch/>
        </p:blipFill>
        <p:spPr>
          <a:xfrm>
            <a:off x="5991224" y="838199"/>
            <a:ext cx="3152775" cy="4305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121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8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in a black jacket&#10;&#10;Description automatically generated">
            <a:extLst>
              <a:ext uri="{FF2B5EF4-FFF2-40B4-BE49-F238E27FC236}">
                <a16:creationId xmlns:a16="http://schemas.microsoft.com/office/drawing/2014/main" id="{5259C0D5-017B-B100-47B6-BE532AB69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86" t="3347" r="12959" b="38901"/>
          <a:stretch/>
        </p:blipFill>
        <p:spPr>
          <a:xfrm>
            <a:off x="3307982" y="0"/>
            <a:ext cx="4292970" cy="5143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EA2F08-11A2-75B5-7B7F-9C50CE969748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7F28D52-5E15-E626-1060-8B93B10ED0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DC402C52-A572-D9BD-EA1D-06A2EAC8E6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E639DCA-95E8-AFA1-7C73-A2A2642F33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89E199B-1FF6-74EC-11B8-7F53473150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137924A-BEC9-0593-07CB-706CC9080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5" name="Picture 4" descr="A person in a black jacket&#10;&#10;Description automatically generated">
            <a:extLst>
              <a:ext uri="{FF2B5EF4-FFF2-40B4-BE49-F238E27FC236}">
                <a16:creationId xmlns:a16="http://schemas.microsoft.com/office/drawing/2014/main" id="{A9C3BC4D-1B41-3106-AB66-0D2ED03CEB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687" r="-2666" b="22430"/>
          <a:stretch/>
        </p:blipFill>
        <p:spPr>
          <a:xfrm>
            <a:off x="5636754" y="1256679"/>
            <a:ext cx="3307982" cy="3886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875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9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miling with a black background&#10;&#10;Description automatically generated">
            <a:extLst>
              <a:ext uri="{FF2B5EF4-FFF2-40B4-BE49-F238E27FC236}">
                <a16:creationId xmlns:a16="http://schemas.microsoft.com/office/drawing/2014/main" id="{D9D829FF-EAD4-E50F-9D18-04FC2CBCB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788" t="1669" r="713" b="13833"/>
          <a:stretch/>
        </p:blipFill>
        <p:spPr>
          <a:xfrm>
            <a:off x="3972377" y="0"/>
            <a:ext cx="3909683" cy="514350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563CD77C-0A08-475C-D385-556870BB4D41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24EE0F3-BCC3-5291-F615-7AF9C57A23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D5C27D-1CDE-E82B-6B31-86FEF87A7F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DFCDF4D4-4E0A-78C1-C296-8C7EF4140A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875923F-4715-592D-3F3E-E9EA8DAB83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37448904-2DB0-55F8-E2CB-C52242AA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5" name="Picture 4" descr="A person smiling with a black background&#10;&#10;Description automatically generated">
            <a:extLst>
              <a:ext uri="{FF2B5EF4-FFF2-40B4-BE49-F238E27FC236}">
                <a16:creationId xmlns:a16="http://schemas.microsoft.com/office/drawing/2014/main" id="{7E4AE72F-D104-C7F4-F6B8-64C45EEAA2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37" b="8363"/>
          <a:stretch/>
        </p:blipFill>
        <p:spPr>
          <a:xfrm>
            <a:off x="6007102" y="827315"/>
            <a:ext cx="2933698" cy="4316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421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0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with his arms crossed&#10;&#10;Description automatically generated">
            <a:extLst>
              <a:ext uri="{FF2B5EF4-FFF2-40B4-BE49-F238E27FC236}">
                <a16:creationId xmlns:a16="http://schemas.microsoft.com/office/drawing/2014/main" id="{2903038D-EB24-0024-080C-03113B599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2" t="4089" r="1098" b="41600"/>
          <a:stretch/>
        </p:blipFill>
        <p:spPr>
          <a:xfrm>
            <a:off x="4223485" y="0"/>
            <a:ext cx="3973633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36BC612-E414-4B4E-324D-D19995A2889F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7F0397F-EA25-2A97-D382-844DF310E7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6C2AE31-3CDA-F432-F0EE-E213FBBD57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0DAA3E5D-DBF4-BFA6-9A51-589CE49B36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D6133C7-1C3F-4F75-240D-1882A9EF46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sp>
        <p:nvSpPr>
          <p:cNvPr id="23" name="Title 5">
            <a:extLst>
              <a:ext uri="{FF2B5EF4-FFF2-40B4-BE49-F238E27FC236}">
                <a16:creationId xmlns:a16="http://schemas.microsoft.com/office/drawing/2014/main" id="{A850B843-D5EA-1F09-28FD-DB47F59B0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3" name="Picture 2" descr="A person with his arms crossed&#10;&#10;Description automatically generated">
            <a:extLst>
              <a:ext uri="{FF2B5EF4-FFF2-40B4-BE49-F238E27FC236}">
                <a16:creationId xmlns:a16="http://schemas.microsoft.com/office/drawing/2014/main" id="{9C2BE0BB-6741-A112-0041-3B0BAC737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" t="-628" r="-1" b="32898"/>
          <a:stretch/>
        </p:blipFill>
        <p:spPr>
          <a:xfrm>
            <a:off x="6045200" y="622301"/>
            <a:ext cx="2819400" cy="452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490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in a black shirt&#10;&#10;Description automatically generated">
            <a:extLst>
              <a:ext uri="{FF2B5EF4-FFF2-40B4-BE49-F238E27FC236}">
                <a16:creationId xmlns:a16="http://schemas.microsoft.com/office/drawing/2014/main" id="{7ED5A6F6-A337-CA3B-BA6B-108BA36F26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9" t="2704" r="1533" b="36508"/>
          <a:stretch/>
        </p:blipFill>
        <p:spPr>
          <a:xfrm>
            <a:off x="4095750" y="0"/>
            <a:ext cx="3771900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5F2C9DD3-147E-C569-1785-D217F41751C7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32CF2821-1A18-8BC6-6A70-78BA60C334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3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1" name="Title 5">
            <a:extLst>
              <a:ext uri="{FF2B5EF4-FFF2-40B4-BE49-F238E27FC236}">
                <a16:creationId xmlns:a16="http://schemas.microsoft.com/office/drawing/2014/main" id="{4ECBFD39-1B9C-44A6-A5A9-A06F20346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E7352F09-0939-B851-C08E-4964A7FA58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1A4B08DB-97FE-1FD6-D675-009EA3D1CE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5CAEC69D-D6CE-5C29-8C1D-7AE10150CB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5" name="Picture 4" descr="A person in a black shirt&#10;&#10;Description automatically generated">
            <a:extLst>
              <a:ext uri="{FF2B5EF4-FFF2-40B4-BE49-F238E27FC236}">
                <a16:creationId xmlns:a16="http://schemas.microsoft.com/office/drawing/2014/main" id="{4F959420-91AB-B642-68BC-D05DA92EF4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" t="-269" r="530" b="25472"/>
          <a:stretch/>
        </p:blipFill>
        <p:spPr>
          <a:xfrm>
            <a:off x="6115051" y="838201"/>
            <a:ext cx="2581274" cy="430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4356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and person reading books&#10;&#10;Description automatically generated">
            <a:extLst>
              <a:ext uri="{FF2B5EF4-FFF2-40B4-BE49-F238E27FC236}">
                <a16:creationId xmlns:a16="http://schemas.microsoft.com/office/drawing/2014/main" id="{8FF80A5A-809C-52EE-537E-4071AB295F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04" r="13424"/>
          <a:stretch/>
        </p:blipFill>
        <p:spPr>
          <a:xfrm>
            <a:off x="2826835" y="0"/>
            <a:ext cx="6317165" cy="514350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563CD77C-0A08-475C-D385-556870BB4D41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D5C27D-1CDE-E82B-6B31-86FEF87A7F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DFCDF4D4-4E0A-78C1-C296-8C7EF4140A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875923F-4715-592D-3F3E-E9EA8DAB83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710073-EAE9-EF97-5ABC-2C0C69072C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211909" y="1424618"/>
            <a:ext cx="4932091" cy="3718882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24EE0F3-BCC3-5291-F615-7AF9C57A23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37448904-2DB0-55F8-E2CB-C52242AA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</p:spTree>
    <p:extLst>
      <p:ext uri="{BB962C8B-B14F-4D97-AF65-F5344CB8AC3E}">
        <p14:creationId xmlns:p14="http://schemas.microsoft.com/office/powerpoint/2010/main" val="774651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holding a computer&#10;&#10;Description automatically generated">
            <a:extLst>
              <a:ext uri="{FF2B5EF4-FFF2-40B4-BE49-F238E27FC236}">
                <a16:creationId xmlns:a16="http://schemas.microsoft.com/office/drawing/2014/main" id="{4CD1D1D6-BE75-5F4C-CBBB-A04782447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7" t="1574" r="-649" b="31184"/>
          <a:stretch/>
        </p:blipFill>
        <p:spPr>
          <a:xfrm flipH="1">
            <a:off x="4381499" y="0"/>
            <a:ext cx="3819525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5F2C9DD3-147E-C569-1785-D217F41751C7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32CF2821-1A18-8BC6-6A70-78BA60C334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3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1" name="Title 5">
            <a:extLst>
              <a:ext uri="{FF2B5EF4-FFF2-40B4-BE49-F238E27FC236}">
                <a16:creationId xmlns:a16="http://schemas.microsoft.com/office/drawing/2014/main" id="{4ECBFD39-1B9C-44A6-A5A9-A06F20346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E7352F09-0939-B851-C08E-4964A7FA58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1A4B08DB-97FE-1FD6-D675-009EA3D1CE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5CAEC69D-D6CE-5C29-8C1D-7AE10150CB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3" name="Picture 2" descr="A person holding a computer&#10;&#10;Description automatically generated">
            <a:extLst>
              <a:ext uri="{FF2B5EF4-FFF2-40B4-BE49-F238E27FC236}">
                <a16:creationId xmlns:a16="http://schemas.microsoft.com/office/drawing/2014/main" id="{4A1CD488-F4FD-CCE2-41C6-8811286DD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3" t="228" r="-1333" b="27694"/>
          <a:stretch/>
        </p:blipFill>
        <p:spPr>
          <a:xfrm flipH="1">
            <a:off x="6353176" y="1130300"/>
            <a:ext cx="2790824" cy="40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5585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AF44818E-EDD4-C2B2-505C-D7C401C6F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16" name="Graphic 76">
            <a:extLst>
              <a:ext uri="{FF2B5EF4-FFF2-40B4-BE49-F238E27FC236}">
                <a16:creationId xmlns:a16="http://schemas.microsoft.com/office/drawing/2014/main" id="{76D43D43-BBA1-4E38-4C32-100ABB6BC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B2FCEC4B-2ED9-614C-F2B4-58345E1FBE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833511"/>
            <a:ext cx="7192380" cy="2685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A2C1DCE-992A-3378-2CC5-6CEFC9FA21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391E57B-6FF9-5B59-3903-F26F6B34DD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857A0E52-A249-520B-79D2-FB85A627E813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42EB8DF4-31C4-C3D8-88D5-281977A8EF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563479"/>
            <a:ext cx="719238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89332F6-878F-95F2-245E-8AC3FEF8E5C4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4AB60B5-A042-3DE1-EB30-B9CF90CF6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F70CE219-E11B-4745-8BD2-449AF36D0533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765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raphic 37">
            <a:extLst>
              <a:ext uri="{FF2B5EF4-FFF2-40B4-BE49-F238E27FC236}">
                <a16:creationId xmlns:a16="http://schemas.microsoft.com/office/drawing/2014/main" id="{E4ADB635-9561-0E9D-CF72-65900D56B4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7367" y="1319537"/>
            <a:ext cx="1577651" cy="74517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502E736-B939-36D4-D01C-462BBF931E90}"/>
              </a:ext>
            </a:extLst>
          </p:cNvPr>
          <p:cNvSpPr/>
          <p:nvPr userDrawn="1"/>
        </p:nvSpPr>
        <p:spPr>
          <a:xfrm>
            <a:off x="4783538" y="1442871"/>
            <a:ext cx="4360462" cy="21103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8B3BB90-BA58-C4B4-AA37-AA70BE90A0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75333" y="674647"/>
            <a:ext cx="3067200" cy="36468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CD45530-BD48-8A80-60DC-E83F360021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48456" y="4780080"/>
            <a:ext cx="1786823" cy="1384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lang="fr-FR" sz="900" cap="all" spc="300" baseline="0" smtClean="0">
                <a:solidFill>
                  <a:schemeClr val="bg1"/>
                </a:solidFill>
              </a:defRPr>
            </a:lvl1pPr>
          </a:lstStyle>
          <a:p>
            <a:pPr algn="ctr" defTabSz="685800">
              <a:buFont typeface="Arial" panose="020B0604020202020204" pitchFamily="34" charset="0"/>
              <a:buNone/>
            </a:pPr>
            <a:fld id="{DEFB2152-8E1D-1B4F-AE66-0C0F10F65804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326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C590509-7C1D-5600-1580-D8B7FD23FC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11" name="Title 17">
            <a:extLst>
              <a:ext uri="{FF2B5EF4-FFF2-40B4-BE49-F238E27FC236}">
                <a16:creationId xmlns:a16="http://schemas.microsoft.com/office/drawing/2014/main" id="{937D24D7-1CFC-8A93-0501-FB236A7FF9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15" name="Graphic 76">
            <a:extLst>
              <a:ext uri="{FF2B5EF4-FFF2-40B4-BE49-F238E27FC236}">
                <a16:creationId xmlns:a16="http://schemas.microsoft.com/office/drawing/2014/main" id="{46222351-4C70-4EF8-5A3B-85FF12B690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8" name="Text Placeholder 36">
            <a:extLst>
              <a:ext uri="{FF2B5EF4-FFF2-40B4-BE49-F238E27FC236}">
                <a16:creationId xmlns:a16="http://schemas.microsoft.com/office/drawing/2014/main" id="{321101DD-FF23-7DAA-1510-20C082080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530587"/>
            <a:ext cx="7192380" cy="29885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57F5DBA-423A-D552-2CA7-0EFC6F6CBA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1FB9BADC-4968-4E6D-D902-5912DAA7995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40C5F2C9-CFD7-6E0A-ED2E-4922B2EB1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260554"/>
            <a:ext cx="719238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1EE82DA-6C43-6839-F3F4-B58ACADA0A7E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7C16034-A248-C3E5-F779-9CCA72F837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C243DF89-5603-DE4C-BC93-4019009B50DC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4447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3F2058-D907-B7BD-D140-41A8E1D61567}"/>
              </a:ext>
            </a:extLst>
          </p:cNvPr>
          <p:cNvSpPr/>
          <p:nvPr userDrawn="1"/>
        </p:nvSpPr>
        <p:spPr>
          <a:xfrm>
            <a:off x="3688080" y="0"/>
            <a:ext cx="5455920" cy="51435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E53E4ED-2B1B-E28E-F9CB-42269F35874B}"/>
              </a:ext>
            </a:extLst>
          </p:cNvPr>
          <p:cNvSpPr/>
          <p:nvPr userDrawn="1"/>
        </p:nvSpPr>
        <p:spPr>
          <a:xfrm>
            <a:off x="0" y="158637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78D0023-718D-7CF8-95C0-2A1744BFC8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20" name="Title 17">
            <a:extLst>
              <a:ext uri="{FF2B5EF4-FFF2-40B4-BE49-F238E27FC236}">
                <a16:creationId xmlns:a16="http://schemas.microsoft.com/office/drawing/2014/main" id="{48BAB887-FA14-E285-FA7E-3C5E75844B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5657" y="1586370"/>
            <a:ext cx="2305703" cy="11079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60C1E9A-AFF4-5E7C-F041-C109C62C05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5657" y="2709606"/>
            <a:ext cx="2305703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0CEF83A5-EADB-F0FB-45A8-8452A8B5C9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27" name="Slide Number Placeholder 1">
            <a:extLst>
              <a:ext uri="{FF2B5EF4-FFF2-40B4-BE49-F238E27FC236}">
                <a16:creationId xmlns:a16="http://schemas.microsoft.com/office/drawing/2014/main" id="{061AF817-1821-EE0B-2140-F6AE8DC42123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 Placeholder 36">
            <a:extLst>
              <a:ext uri="{FF2B5EF4-FFF2-40B4-BE49-F238E27FC236}">
                <a16:creationId xmlns:a16="http://schemas.microsoft.com/office/drawing/2014/main" id="{F78EFB3B-D5A7-59FB-17FE-3CAFFAB98A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33851" y="831314"/>
            <a:ext cx="4564378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F81D6B50-28E5-A41B-7881-EB613C11B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3851" y="1090585"/>
            <a:ext cx="4564378" cy="34701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ACEB54-7C1C-D515-AA2D-D6B3CDC224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00350D29-505F-4841-8A6B-99CB3583DB22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839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AF44818E-EDD4-C2B2-505C-D7C401C6F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B6148D9-D504-4D7B-0690-EF8EA8F61E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6653460D-31DA-6B37-4A75-37A55123FED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Graphic 76">
            <a:extLst>
              <a:ext uri="{FF2B5EF4-FFF2-40B4-BE49-F238E27FC236}">
                <a16:creationId xmlns:a16="http://schemas.microsoft.com/office/drawing/2014/main" id="{76D43D43-BBA1-4E38-4C32-100ABB6BCE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984E15F-0DB1-BBA0-C936-5C5048FD359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B2FCEC4B-2ED9-614C-F2B4-58345E1FBE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3739" y="1602361"/>
            <a:ext cx="7192382" cy="200761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8B7C478F-0C01-1F23-1117-527B3CCDA7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ED999B4-8DC7-2B9E-E5E6-D36D898DE4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8F01C088-38F8-674F-8026-5995C11E19E0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8741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DDDE034-C6D5-BFDD-6DD4-38B448D49936}"/>
              </a:ext>
            </a:extLst>
          </p:cNvPr>
          <p:cNvSpPr/>
          <p:nvPr userDrawn="1"/>
        </p:nvSpPr>
        <p:spPr>
          <a:xfrm>
            <a:off x="5210354" y="1800978"/>
            <a:ext cx="3933645" cy="21819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4920D6-A3A4-D7E2-843E-9EAFAF853BF0}"/>
              </a:ext>
            </a:extLst>
          </p:cNvPr>
          <p:cNvSpPr/>
          <p:nvPr userDrawn="1"/>
        </p:nvSpPr>
        <p:spPr>
          <a:xfrm>
            <a:off x="6890145" y="3948079"/>
            <a:ext cx="756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1" name="Title 17">
            <a:extLst>
              <a:ext uri="{FF2B5EF4-FFF2-40B4-BE49-F238E27FC236}">
                <a16:creationId xmlns:a16="http://schemas.microsoft.com/office/drawing/2014/main" id="{937D24D7-1CFC-8A93-0501-FB236A7FF9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15" name="Graphic 76">
            <a:extLst>
              <a:ext uri="{FF2B5EF4-FFF2-40B4-BE49-F238E27FC236}">
                <a16:creationId xmlns:a16="http://schemas.microsoft.com/office/drawing/2014/main" id="{46222351-4C70-4EF8-5A3B-85FF12B690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3FEB5202-82CD-A6B8-C56C-2DFB914AC7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3739" y="2153282"/>
            <a:ext cx="3797280" cy="145185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845A60B9-0E36-5A3C-F272-C6F78AC78D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13533" y="2153282"/>
            <a:ext cx="3327287" cy="147732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68910AB-A89D-7532-8245-E2F05B82897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DB0BB320-F828-273A-956B-E42F7530304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8D0BAFA-84DC-99C3-2A83-E557E1C5FC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74F56A-0056-B69E-F509-901863CF3253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CF75073-24BE-0070-B095-5F2AC1399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8352CCCD-6DD8-5E45-ACCA-2ABC6FACFEE0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0514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BFC612-AE72-EB0E-C872-B7258A9389E1}"/>
              </a:ext>
            </a:extLst>
          </p:cNvPr>
          <p:cNvSpPr/>
          <p:nvPr userDrawn="1"/>
        </p:nvSpPr>
        <p:spPr>
          <a:xfrm>
            <a:off x="1131938" y="2745478"/>
            <a:ext cx="6880124" cy="192823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11" name="Title 17">
            <a:extLst>
              <a:ext uri="{FF2B5EF4-FFF2-40B4-BE49-F238E27FC236}">
                <a16:creationId xmlns:a16="http://schemas.microsoft.com/office/drawing/2014/main" id="{937D24D7-1CFC-8A93-0501-FB236A7FF9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15" name="Graphic 76">
            <a:extLst>
              <a:ext uri="{FF2B5EF4-FFF2-40B4-BE49-F238E27FC236}">
                <a16:creationId xmlns:a16="http://schemas.microsoft.com/office/drawing/2014/main" id="{46222351-4C70-4EF8-5A3B-85FF12B690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3" name="Text Placeholder 36">
            <a:extLst>
              <a:ext uri="{FF2B5EF4-FFF2-40B4-BE49-F238E27FC236}">
                <a16:creationId xmlns:a16="http://schemas.microsoft.com/office/drawing/2014/main" id="{6296558D-9D20-9AD4-0096-B2FA3B2F85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6383" y="2970934"/>
            <a:ext cx="6391234" cy="147732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8FD43B5C-A956-6A59-07AF-C0E456BB66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35" name="Slide Number Placeholder 1">
            <a:extLst>
              <a:ext uri="{FF2B5EF4-FFF2-40B4-BE49-F238E27FC236}">
                <a16:creationId xmlns:a16="http://schemas.microsoft.com/office/drawing/2014/main" id="{29252CB9-BD8A-F818-DEA6-86B2237707BF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208B8DA-0F9A-1E89-8462-12ECA69F5C0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0EC6EB6-943F-D5BE-1BE1-170A795A21C4}"/>
              </a:ext>
            </a:extLst>
          </p:cNvPr>
          <p:cNvSpPr/>
          <p:nvPr userDrawn="1"/>
        </p:nvSpPr>
        <p:spPr>
          <a:xfrm>
            <a:off x="3526200" y="4634583"/>
            <a:ext cx="20916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3F8210-B113-3AD5-8EBD-600CF43303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8496" y="1337218"/>
            <a:ext cx="9152495" cy="2911966"/>
          </a:xfrm>
          <a:custGeom>
            <a:avLst/>
            <a:gdLst>
              <a:gd name="connsiteX0" fmla="*/ 0 w 9152495"/>
              <a:gd name="connsiteY0" fmla="*/ 0 h 2911966"/>
              <a:gd name="connsiteX1" fmla="*/ 9152495 w 9152495"/>
              <a:gd name="connsiteY1" fmla="*/ 0 h 2911966"/>
              <a:gd name="connsiteX2" fmla="*/ 9152495 w 9152495"/>
              <a:gd name="connsiteY2" fmla="*/ 2911966 h 2911966"/>
              <a:gd name="connsiteX3" fmla="*/ 8020558 w 9152495"/>
              <a:gd name="connsiteY3" fmla="*/ 2911966 h 2911966"/>
              <a:gd name="connsiteX4" fmla="*/ 8020558 w 9152495"/>
              <a:gd name="connsiteY4" fmla="*/ 1408261 h 2911966"/>
              <a:gd name="connsiteX5" fmla="*/ 1140434 w 9152495"/>
              <a:gd name="connsiteY5" fmla="*/ 1408261 h 2911966"/>
              <a:gd name="connsiteX6" fmla="*/ 1140434 w 9152495"/>
              <a:gd name="connsiteY6" fmla="*/ 2911966 h 2911966"/>
              <a:gd name="connsiteX7" fmla="*/ 0 w 9152495"/>
              <a:gd name="connsiteY7" fmla="*/ 2911966 h 2911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2495" h="2911966">
                <a:moveTo>
                  <a:pt x="0" y="0"/>
                </a:moveTo>
                <a:lnTo>
                  <a:pt x="9152495" y="0"/>
                </a:lnTo>
                <a:lnTo>
                  <a:pt x="9152495" y="2911966"/>
                </a:lnTo>
                <a:lnTo>
                  <a:pt x="8020558" y="2911966"/>
                </a:lnTo>
                <a:lnTo>
                  <a:pt x="8020558" y="1408261"/>
                </a:lnTo>
                <a:lnTo>
                  <a:pt x="1140434" y="1408261"/>
                </a:lnTo>
                <a:lnTo>
                  <a:pt x="1140434" y="2911966"/>
                </a:lnTo>
                <a:lnTo>
                  <a:pt x="0" y="2911966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  <a:p>
            <a:endParaRPr lang="fr-FR" noProof="1"/>
          </a:p>
          <a:p>
            <a:endParaRPr lang="fr-FR" noProof="1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95D4662-124A-789A-D4D4-2E656D75D5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A6F3493E-5F73-B34B-AC2A-08E5578321B7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411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FD57099-1F54-1745-91E2-3B58B90B7B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178" y="0"/>
            <a:ext cx="2598822" cy="5144400"/>
          </a:xfrm>
          <a:custGeom>
            <a:avLst/>
            <a:gdLst>
              <a:gd name="connsiteX0" fmla="*/ 0 w 2598822"/>
              <a:gd name="connsiteY0" fmla="*/ 0 h 5144400"/>
              <a:gd name="connsiteX1" fmla="*/ 2598822 w 2598822"/>
              <a:gd name="connsiteY1" fmla="*/ 0 h 5144400"/>
              <a:gd name="connsiteX2" fmla="*/ 2598822 w 2598822"/>
              <a:gd name="connsiteY2" fmla="*/ 4772896 h 5144400"/>
              <a:gd name="connsiteX3" fmla="*/ 2517981 w 2598822"/>
              <a:gd name="connsiteY3" fmla="*/ 4729833 h 5144400"/>
              <a:gd name="connsiteX4" fmla="*/ 2100272 w 2598822"/>
              <a:gd name="connsiteY4" fmla="*/ 4729833 h 5144400"/>
              <a:gd name="connsiteX5" fmla="*/ 2100272 w 2598822"/>
              <a:gd name="connsiteY5" fmla="*/ 4936210 h 5144400"/>
              <a:gd name="connsiteX6" fmla="*/ 2243081 w 2598822"/>
              <a:gd name="connsiteY6" fmla="*/ 5015583 h 5144400"/>
              <a:gd name="connsiteX7" fmla="*/ 2598822 w 2598822"/>
              <a:gd name="connsiteY7" fmla="*/ 5015583 h 5144400"/>
              <a:gd name="connsiteX8" fmla="*/ 2598822 w 2598822"/>
              <a:gd name="connsiteY8" fmla="*/ 5144400 h 5144400"/>
              <a:gd name="connsiteX9" fmla="*/ 0 w 2598822"/>
              <a:gd name="connsiteY9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98822" h="5144400">
                <a:moveTo>
                  <a:pt x="0" y="0"/>
                </a:moveTo>
                <a:lnTo>
                  <a:pt x="2598822" y="0"/>
                </a:lnTo>
                <a:lnTo>
                  <a:pt x="2598822" y="4772896"/>
                </a:lnTo>
                <a:lnTo>
                  <a:pt x="2517981" y="4729833"/>
                </a:lnTo>
                <a:lnTo>
                  <a:pt x="2100272" y="4729833"/>
                </a:lnTo>
                <a:lnTo>
                  <a:pt x="2100272" y="4936210"/>
                </a:lnTo>
                <a:lnTo>
                  <a:pt x="2243081" y="5015583"/>
                </a:lnTo>
                <a:lnTo>
                  <a:pt x="2598822" y="5015583"/>
                </a:lnTo>
                <a:lnTo>
                  <a:pt x="2598822" y="5144400"/>
                </a:lnTo>
                <a:lnTo>
                  <a:pt x="0" y="51444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 </a:t>
            </a:r>
          </a:p>
        </p:txBody>
      </p:sp>
      <p:sp>
        <p:nvSpPr>
          <p:cNvPr id="11" name="Title 17">
            <a:extLst>
              <a:ext uri="{FF2B5EF4-FFF2-40B4-BE49-F238E27FC236}">
                <a16:creationId xmlns:a16="http://schemas.microsoft.com/office/drawing/2014/main" id="{937D24D7-1CFC-8A93-0501-FB236A7FF9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5158094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44D69FC-E7B5-42F7-4FEB-A39784DD23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5228194E-F138-F352-A20D-77D48347E8EB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12452815-C5F0-CE3B-1F6F-2A83585CD1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5158092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06A6F48-D902-0E3A-FD3A-AAA5B59FB781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19D567F2-949E-A960-8872-4FFE852E73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600" y="1563479"/>
            <a:ext cx="515809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6" name="Text Placeholder 36">
            <a:extLst>
              <a:ext uri="{FF2B5EF4-FFF2-40B4-BE49-F238E27FC236}">
                <a16:creationId xmlns:a16="http://schemas.microsoft.com/office/drawing/2014/main" id="{60591408-37F5-72DE-D944-FDA4373484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599" y="1833512"/>
            <a:ext cx="5158091" cy="264687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7" name="Text Placeholder 51">
            <a:extLst>
              <a:ext uri="{FF2B5EF4-FFF2-40B4-BE49-F238E27FC236}">
                <a16:creationId xmlns:a16="http://schemas.microsoft.com/office/drawing/2014/main" id="{E75EA614-FE7E-CE61-D177-0DA0992EA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4681" y="408705"/>
            <a:ext cx="605956" cy="285750"/>
          </a:xfrm>
          <a:custGeom>
            <a:avLst/>
            <a:gdLst>
              <a:gd name="connsiteX0" fmla="*/ 0 w 605956"/>
              <a:gd name="connsiteY0" fmla="*/ 0 h 285750"/>
              <a:gd name="connsiteX1" fmla="*/ 605956 w 605956"/>
              <a:gd name="connsiteY1" fmla="*/ 0 h 285750"/>
              <a:gd name="connsiteX2" fmla="*/ 605956 w 605956"/>
              <a:gd name="connsiteY2" fmla="*/ 285750 h 285750"/>
              <a:gd name="connsiteX3" fmla="*/ 0 w 605956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956" h="285750">
                <a:moveTo>
                  <a:pt x="0" y="0"/>
                </a:moveTo>
                <a:lnTo>
                  <a:pt x="605956" y="0"/>
                </a:lnTo>
                <a:lnTo>
                  <a:pt x="605956" y="285750"/>
                </a:lnTo>
                <a:lnTo>
                  <a:pt x="0" y="285750"/>
                </a:lnTo>
                <a:close/>
              </a:path>
            </a:pathLst>
          </a:cu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bg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 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01A0F83-762E-C5B6-E475-2FFE851390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94ADCA38-CB24-C14E-9C2E-07687922626E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5966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7">
            <a:extLst>
              <a:ext uri="{FF2B5EF4-FFF2-40B4-BE49-F238E27FC236}">
                <a16:creationId xmlns:a16="http://schemas.microsoft.com/office/drawing/2014/main" id="{4382E88A-02F4-CEB2-719D-78A2E70E9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3" name="Graphic 76">
            <a:extLst>
              <a:ext uri="{FF2B5EF4-FFF2-40B4-BE49-F238E27FC236}">
                <a16:creationId xmlns:a16="http://schemas.microsoft.com/office/drawing/2014/main" id="{FAD2EC55-0E55-931C-3821-C3C7853B9E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023C64E-D363-351A-DAA1-99E93218212E}"/>
              </a:ext>
            </a:extLst>
          </p:cNvPr>
          <p:cNvSpPr/>
          <p:nvPr userDrawn="1"/>
        </p:nvSpPr>
        <p:spPr>
          <a:xfrm>
            <a:off x="957599" y="1691104"/>
            <a:ext cx="8186401" cy="28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000" noProof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5FC6A45-AB3B-F04F-197B-087B5A976A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405B1F7-C76E-81A5-7349-025EE03AF2A4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DB97CD41-C049-D556-0F3D-E0AB9E47F3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19929" y="2044523"/>
            <a:ext cx="5544664" cy="21731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46EE8706-CDA8-1480-5E01-FB295ECF17D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26921" y="1691104"/>
            <a:ext cx="2117079" cy="28800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6E61234-0524-9F3C-C382-5F4159D8F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2822910-CEC3-F77D-35F7-448669E91BB7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1D0CF7-0487-AA41-3795-0819363B59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9D07B704-7715-464D-82DE-FFE27DAF9D7A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365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6">
            <a:extLst>
              <a:ext uri="{FF2B5EF4-FFF2-40B4-BE49-F238E27FC236}">
                <a16:creationId xmlns:a16="http://schemas.microsoft.com/office/drawing/2014/main" id="{178D9A68-5264-192A-7DC0-1884F24F4E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600" y="1563479"/>
            <a:ext cx="719238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" name="Title 17">
            <a:extLst>
              <a:ext uri="{FF2B5EF4-FFF2-40B4-BE49-F238E27FC236}">
                <a16:creationId xmlns:a16="http://schemas.microsoft.com/office/drawing/2014/main" id="{4382E88A-02F4-CEB2-719D-78A2E70E9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3" name="Graphic 76">
            <a:extLst>
              <a:ext uri="{FF2B5EF4-FFF2-40B4-BE49-F238E27FC236}">
                <a16:creationId xmlns:a16="http://schemas.microsoft.com/office/drawing/2014/main" id="{FAD2EC55-0E55-931C-3821-C3C7853B9E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6E61234-0524-9F3C-C382-5F4159D8F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2822910-CEC3-F77D-35F7-448669E91BB7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86E761-064C-503F-2626-4862F8AD9253}"/>
              </a:ext>
            </a:extLst>
          </p:cNvPr>
          <p:cNvSpPr/>
          <p:nvPr userDrawn="1"/>
        </p:nvSpPr>
        <p:spPr>
          <a:xfrm>
            <a:off x="0" y="3375659"/>
            <a:ext cx="9144000" cy="17678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840A2DB-3B11-3044-9628-6777C0FEFA6A}"/>
              </a:ext>
            </a:extLst>
          </p:cNvPr>
          <p:cNvSpPr/>
          <p:nvPr userDrawn="1"/>
        </p:nvSpPr>
        <p:spPr>
          <a:xfrm>
            <a:off x="1146971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05573CA-F26A-1C09-770A-4C489DE69C17}"/>
              </a:ext>
            </a:extLst>
          </p:cNvPr>
          <p:cNvSpPr/>
          <p:nvPr userDrawn="1"/>
        </p:nvSpPr>
        <p:spPr>
          <a:xfrm>
            <a:off x="3250324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7180AA5-AC35-6279-9260-2DDD3732446B}"/>
              </a:ext>
            </a:extLst>
          </p:cNvPr>
          <p:cNvSpPr/>
          <p:nvPr userDrawn="1"/>
        </p:nvSpPr>
        <p:spPr>
          <a:xfrm>
            <a:off x="5353677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72FF48D-D292-8612-36B5-9E4466C32020}"/>
              </a:ext>
            </a:extLst>
          </p:cNvPr>
          <p:cNvSpPr/>
          <p:nvPr userDrawn="1"/>
        </p:nvSpPr>
        <p:spPr>
          <a:xfrm>
            <a:off x="7457030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947799-4A31-1A0C-51EF-DE7EC782CD5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35" name="Slide Number Placeholder 1">
            <a:extLst>
              <a:ext uri="{FF2B5EF4-FFF2-40B4-BE49-F238E27FC236}">
                <a16:creationId xmlns:a16="http://schemas.microsoft.com/office/drawing/2014/main" id="{9458DE21-A875-8AF3-E21C-B1B11C4CBB9F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D6F73FE-1C8D-3E30-8D9C-2F55EB30366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7600" y="1833511"/>
            <a:ext cx="7192380" cy="130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7" name="Picture Placeholder 8">
            <a:extLst>
              <a:ext uri="{FF2B5EF4-FFF2-40B4-BE49-F238E27FC236}">
                <a16:creationId xmlns:a16="http://schemas.microsoft.com/office/drawing/2014/main" id="{AEB1C81C-E09E-2FE3-936A-C4BB05B2B1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0508" y="3795413"/>
            <a:ext cx="1652926" cy="80586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48" name="Picture Placeholder 8">
            <a:extLst>
              <a:ext uri="{FF2B5EF4-FFF2-40B4-BE49-F238E27FC236}">
                <a16:creationId xmlns:a16="http://schemas.microsoft.com/office/drawing/2014/main" id="{01172925-2010-FEBF-6C87-EBBF99D2D6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693861" y="3795413"/>
            <a:ext cx="1652926" cy="80586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49" name="Picture Placeholder 8">
            <a:extLst>
              <a:ext uri="{FF2B5EF4-FFF2-40B4-BE49-F238E27FC236}">
                <a16:creationId xmlns:a16="http://schemas.microsoft.com/office/drawing/2014/main" id="{4889C2D0-1D3D-980B-F4A3-BC99E71D3C1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7214" y="3795413"/>
            <a:ext cx="1652926" cy="80586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50" name="Picture Placeholder 8">
            <a:extLst>
              <a:ext uri="{FF2B5EF4-FFF2-40B4-BE49-F238E27FC236}">
                <a16:creationId xmlns:a16="http://schemas.microsoft.com/office/drawing/2014/main" id="{FDC88009-3AF5-C5C9-41D8-319C26DDE3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00567" y="3795413"/>
            <a:ext cx="1652926" cy="80586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05BCC00F-1FF4-0B88-019D-87DB2BA5F3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508" y="3528581"/>
            <a:ext cx="1652400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7CE3D1DA-2BFC-7E70-3965-D30853A11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4036" y="3528581"/>
            <a:ext cx="1652400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C75AB7E7-6FD3-27BF-43A9-B031B3CB9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7564" y="3528581"/>
            <a:ext cx="1652400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5" name="Text Placeholder 36">
            <a:extLst>
              <a:ext uri="{FF2B5EF4-FFF2-40B4-BE49-F238E27FC236}">
                <a16:creationId xmlns:a16="http://schemas.microsoft.com/office/drawing/2014/main" id="{0D73A933-6BE9-9D2C-D7C0-5F2B6FCD07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01093" y="3528581"/>
            <a:ext cx="1652400" cy="15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AAF84B-D97A-5B29-62BB-1F7E98FAC0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420D91F9-06CC-F342-8B12-A7F251664D9A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487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05721C-D7B3-3655-9B8E-5D751D38CC3C}"/>
              </a:ext>
            </a:extLst>
          </p:cNvPr>
          <p:cNvSpPr/>
          <p:nvPr userDrawn="1"/>
        </p:nvSpPr>
        <p:spPr>
          <a:xfrm>
            <a:off x="6721882" y="0"/>
            <a:ext cx="2422118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59" name="Picture Placeholder 8">
            <a:extLst>
              <a:ext uri="{FF2B5EF4-FFF2-40B4-BE49-F238E27FC236}">
                <a16:creationId xmlns:a16="http://schemas.microsoft.com/office/drawing/2014/main" id="{645642FB-2706-C138-D2D5-20EE50805D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86496" y="239713"/>
            <a:ext cx="1784819" cy="993775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60" name="Picture Placeholder 8">
            <a:extLst>
              <a:ext uri="{FF2B5EF4-FFF2-40B4-BE49-F238E27FC236}">
                <a16:creationId xmlns:a16="http://schemas.microsoft.com/office/drawing/2014/main" id="{FFEC4678-ED2E-05C0-A836-C0508F6A642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86496" y="1397530"/>
            <a:ext cx="1784819" cy="993775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61" name="Picture Placeholder 8">
            <a:extLst>
              <a:ext uri="{FF2B5EF4-FFF2-40B4-BE49-F238E27FC236}">
                <a16:creationId xmlns:a16="http://schemas.microsoft.com/office/drawing/2014/main" id="{362FB851-E595-4B52-DF65-AE16177DDE1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86496" y="2555347"/>
            <a:ext cx="1784819" cy="993775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62" name="Picture Placeholder 8">
            <a:extLst>
              <a:ext uri="{FF2B5EF4-FFF2-40B4-BE49-F238E27FC236}">
                <a16:creationId xmlns:a16="http://schemas.microsoft.com/office/drawing/2014/main" id="{C61A3394-1B8D-DBF1-8A70-FF213C6F612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86496" y="3713163"/>
            <a:ext cx="1784819" cy="993775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AD7315E-9595-FD82-5839-ACE04691DD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EE2F61FA-D99C-B276-C519-7AE84C12C4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39" name="Slide Number Placeholder 1">
            <a:extLst>
              <a:ext uri="{FF2B5EF4-FFF2-40B4-BE49-F238E27FC236}">
                <a16:creationId xmlns:a16="http://schemas.microsoft.com/office/drawing/2014/main" id="{ACB3E1EB-3D44-BC57-3801-294C57BD0E34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itle 17">
            <a:extLst>
              <a:ext uri="{FF2B5EF4-FFF2-40B4-BE49-F238E27FC236}">
                <a16:creationId xmlns:a16="http://schemas.microsoft.com/office/drawing/2014/main" id="{6744B5AA-9F5A-F22A-0371-27FD6D820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4842000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B843ABEA-91C4-CB6E-CE2D-310E9565E5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48420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6D5346-FE57-DF7B-D602-647EF005B61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B3F2BC79-2D63-6AA0-8205-72F567ED5D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600" y="1563479"/>
            <a:ext cx="484122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46" name="Text Placeholder 36">
            <a:extLst>
              <a:ext uri="{FF2B5EF4-FFF2-40B4-BE49-F238E27FC236}">
                <a16:creationId xmlns:a16="http://schemas.microsoft.com/office/drawing/2014/main" id="{77617653-3059-1DDF-F837-8AE8D51726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833511"/>
            <a:ext cx="4841220" cy="296234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69" name="Text Placeholder 36">
            <a:extLst>
              <a:ext uri="{FF2B5EF4-FFF2-40B4-BE49-F238E27FC236}">
                <a16:creationId xmlns:a16="http://schemas.microsoft.com/office/drawing/2014/main" id="{7DF2A444-13AB-FF8F-15AA-3DA01256D8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9504" y="919460"/>
            <a:ext cx="1389152" cy="377010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0" name="Text Placeholder 36">
            <a:extLst>
              <a:ext uri="{FF2B5EF4-FFF2-40B4-BE49-F238E27FC236}">
                <a16:creationId xmlns:a16="http://schemas.microsoft.com/office/drawing/2014/main" id="{11129B84-75B3-5EF4-B264-C93D883251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29504" y="2077362"/>
            <a:ext cx="1389152" cy="377010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1" name="Text Placeholder 36">
            <a:extLst>
              <a:ext uri="{FF2B5EF4-FFF2-40B4-BE49-F238E27FC236}">
                <a16:creationId xmlns:a16="http://schemas.microsoft.com/office/drawing/2014/main" id="{ADBC10E6-849C-7505-835E-98BC3FC192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29504" y="3235264"/>
            <a:ext cx="1389152" cy="377010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2" name="Text Placeholder 36">
            <a:extLst>
              <a:ext uri="{FF2B5EF4-FFF2-40B4-BE49-F238E27FC236}">
                <a16:creationId xmlns:a16="http://schemas.microsoft.com/office/drawing/2014/main" id="{F4EFDEC3-87BC-3B9C-4B28-06FD51EF89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29504" y="4393165"/>
            <a:ext cx="1389152" cy="377010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EEABB512-FACF-EC19-05A6-B2BC18B272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EF467AB9-26D4-7645-94F8-9EA9444C9F46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2440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05721C-D7B3-3655-9B8E-5D751D38CC3C}"/>
              </a:ext>
            </a:extLst>
          </p:cNvPr>
          <p:cNvSpPr/>
          <p:nvPr userDrawn="1"/>
        </p:nvSpPr>
        <p:spPr>
          <a:xfrm>
            <a:off x="6721882" y="0"/>
            <a:ext cx="2422118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275D2909-3988-D222-455C-6DF66F8C7A8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092700" y="839788"/>
            <a:ext cx="1804988" cy="1077912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D3C4526E-5F5B-F836-0039-D4985880864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42162" y="839788"/>
            <a:ext cx="1804988" cy="1077912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996BD9B5-4CB3-D4B8-6317-33352C1B46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92700" y="2089150"/>
            <a:ext cx="1804988" cy="1077912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B679FE23-1F8B-FD72-2DF5-4D842D2C5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42162" y="2089150"/>
            <a:ext cx="1804988" cy="1077912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50DD3EB4-603E-F974-7542-36B4DF2D7D1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92700" y="3338513"/>
            <a:ext cx="1804988" cy="1077912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4B789400-9F02-4560-8E86-764855153D5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42162" y="3338513"/>
            <a:ext cx="1804988" cy="1077912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AD7315E-9595-FD82-5839-ACE04691DD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EE2F61FA-D99C-B276-C519-7AE84C12C4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39" name="Slide Number Placeholder 1">
            <a:extLst>
              <a:ext uri="{FF2B5EF4-FFF2-40B4-BE49-F238E27FC236}">
                <a16:creationId xmlns:a16="http://schemas.microsoft.com/office/drawing/2014/main" id="{ACB3E1EB-3D44-BC57-3801-294C57BD0E34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itle 17">
            <a:extLst>
              <a:ext uri="{FF2B5EF4-FFF2-40B4-BE49-F238E27FC236}">
                <a16:creationId xmlns:a16="http://schemas.microsoft.com/office/drawing/2014/main" id="{6744B5AA-9F5A-F22A-0371-27FD6D820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3704400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B843ABEA-91C4-CB6E-CE2D-310E9565E5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37044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6D5346-FE57-DF7B-D602-647EF005B61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B3F2BC79-2D63-6AA0-8205-72F567ED5D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600" y="1563479"/>
            <a:ext cx="37043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46" name="Text Placeholder 36">
            <a:extLst>
              <a:ext uri="{FF2B5EF4-FFF2-40B4-BE49-F238E27FC236}">
                <a16:creationId xmlns:a16="http://schemas.microsoft.com/office/drawing/2014/main" id="{77617653-3059-1DDF-F837-8AE8D51726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833511"/>
            <a:ext cx="3704399" cy="296234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22640D2F-5896-B128-4304-DBBEB0A567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6957" y="1744537"/>
            <a:ext cx="1187212" cy="246221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8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4D4B1300-77F1-26BE-AA09-A4743C60E3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56423" y="1744537"/>
            <a:ext cx="1187212" cy="246221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8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5" name="Text Placeholder 36">
            <a:extLst>
              <a:ext uri="{FF2B5EF4-FFF2-40B4-BE49-F238E27FC236}">
                <a16:creationId xmlns:a16="http://schemas.microsoft.com/office/drawing/2014/main" id="{BECCC130-FE26-9FC3-966B-53C567BF96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6957" y="2993710"/>
            <a:ext cx="1187212" cy="246221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8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6" name="Text Placeholder 36">
            <a:extLst>
              <a:ext uri="{FF2B5EF4-FFF2-40B4-BE49-F238E27FC236}">
                <a16:creationId xmlns:a16="http://schemas.microsoft.com/office/drawing/2014/main" id="{5D409B15-2F88-3FD0-1FB6-C34AAEF884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56423" y="2993710"/>
            <a:ext cx="1187212" cy="246221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8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7" name="Text Placeholder 36">
            <a:extLst>
              <a:ext uri="{FF2B5EF4-FFF2-40B4-BE49-F238E27FC236}">
                <a16:creationId xmlns:a16="http://schemas.microsoft.com/office/drawing/2014/main" id="{4B05E4ED-5BA4-93AC-94CC-3AAE42A628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06957" y="4242882"/>
            <a:ext cx="1187212" cy="246221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8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8" name="Text Placeholder 36">
            <a:extLst>
              <a:ext uri="{FF2B5EF4-FFF2-40B4-BE49-F238E27FC236}">
                <a16:creationId xmlns:a16="http://schemas.microsoft.com/office/drawing/2014/main" id="{1A45DBC3-561F-55AF-9EDF-5AC3573DE8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56423" y="4242882"/>
            <a:ext cx="1187212" cy="246221"/>
          </a:xfrm>
          <a:prstGeom prst="snip2DiagRect">
            <a:avLst>
              <a:gd name="adj1" fmla="val 0"/>
              <a:gd name="adj2" fmla="val 32458"/>
            </a:avLst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8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E526E96-5A92-0A67-0275-DC582E3362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F7226C15-24DF-F648-B58F-5A1EE8EFDC76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896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CDC8C7-B5EA-AAD4-D228-63295B4B193F}"/>
              </a:ext>
            </a:extLst>
          </p:cNvPr>
          <p:cNvSpPr/>
          <p:nvPr userDrawn="1"/>
        </p:nvSpPr>
        <p:spPr>
          <a:xfrm>
            <a:off x="3688080" y="0"/>
            <a:ext cx="5455920" cy="51435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BAB7FC-6CEF-7949-DE0A-CB613E531E4D}"/>
              </a:ext>
            </a:extLst>
          </p:cNvPr>
          <p:cNvSpPr/>
          <p:nvPr userDrawn="1"/>
        </p:nvSpPr>
        <p:spPr>
          <a:xfrm>
            <a:off x="0" y="158637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177CE1B-8514-76C5-4163-72EE8DB953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DD4C02C5-3007-6F00-255C-BD75F7E2E4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38" name="Slide Number Placeholder 1">
            <a:extLst>
              <a:ext uri="{FF2B5EF4-FFF2-40B4-BE49-F238E27FC236}">
                <a16:creationId xmlns:a16="http://schemas.microsoft.com/office/drawing/2014/main" id="{23436C18-326F-7DC0-FAA1-D8CA650B9264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71">
            <a:extLst>
              <a:ext uri="{FF2B5EF4-FFF2-40B4-BE49-F238E27FC236}">
                <a16:creationId xmlns:a16="http://schemas.microsoft.com/office/drawing/2014/main" id="{673FFBA4-DB02-74E5-E644-400095458EA8}"/>
              </a:ext>
            </a:extLst>
          </p:cNvPr>
          <p:cNvSpPr txBox="1"/>
          <p:nvPr userDrawn="1"/>
        </p:nvSpPr>
        <p:spPr>
          <a:xfrm>
            <a:off x="955657" y="1586370"/>
            <a:ext cx="230570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2400" dirty="0">
                <a:latin typeface="+mj-lt"/>
              </a:rPr>
              <a:t>SOMMAIRE</a:t>
            </a:r>
          </a:p>
        </p:txBody>
      </p:sp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C55FB964-441E-18D4-C835-E480292F75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36740" y="959004"/>
            <a:ext cx="4608709" cy="35618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sz="1600" b="1">
                <a:solidFill>
                  <a:schemeClr val="tx1"/>
                </a:solidFill>
              </a:defRPr>
            </a:lvl1pPr>
            <a:lvl2pPr marL="1741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None/>
              <a:defRPr sz="1100">
                <a:solidFill>
                  <a:schemeClr val="tx1"/>
                </a:solidFill>
              </a:defRPr>
            </a:lvl2pPr>
            <a:lvl3pPr marL="5755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chapitre</a:t>
            </a:r>
          </a:p>
          <a:p>
            <a:pPr lvl="0"/>
            <a:r>
              <a:rPr lang="fr-FR" noProof="1"/>
              <a:t>Deuxième chapitre</a:t>
            </a:r>
          </a:p>
          <a:p>
            <a:pPr lvl="0"/>
            <a:r>
              <a:rPr lang="fr-FR" noProof="1"/>
              <a:t>Troisième chapitre</a:t>
            </a:r>
          </a:p>
          <a:p>
            <a:pPr lvl="0"/>
            <a:r>
              <a:rPr lang="fr-FR" noProof="1"/>
              <a:t>Quatrième chapitre</a:t>
            </a:r>
          </a:p>
          <a:p>
            <a:pPr lvl="0"/>
            <a:r>
              <a:rPr lang="fr-FR" noProof="1"/>
              <a:t>Cinquième chapitre</a:t>
            </a:r>
          </a:p>
          <a:p>
            <a:pPr lvl="0"/>
            <a:r>
              <a:rPr lang="fr-FR" noProof="1"/>
              <a:t>Sixième chapitre</a:t>
            </a:r>
          </a:p>
          <a:p>
            <a:pPr lvl="0"/>
            <a:r>
              <a:rPr lang="fr-FR" noProof="1"/>
              <a:t>Septième chapitre</a:t>
            </a:r>
          </a:p>
          <a:p>
            <a:pPr lvl="0"/>
            <a:r>
              <a:rPr lang="fr-FR" noProof="1"/>
              <a:t>Huitième chapitr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C3158DD-EA5B-FCB8-A2BE-3DF9CFE0C2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fr-FR" sz="800" smtClean="0"/>
            </a:lvl1pPr>
          </a:lstStyle>
          <a:p>
            <a:pPr algn="r"/>
            <a:fld id="{9ECDEB51-BFB0-7849-94BB-E8BAC58DE154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7496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044C9D3-B7DA-1EFD-14EF-2EE9F99564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58840" y="2"/>
            <a:ext cx="3185160" cy="5143498"/>
          </a:xfrm>
          <a:custGeom>
            <a:avLst/>
            <a:gdLst>
              <a:gd name="connsiteX0" fmla="*/ 0 w 3185160"/>
              <a:gd name="connsiteY0" fmla="*/ 0 h 5143498"/>
              <a:gd name="connsiteX1" fmla="*/ 3185160 w 3185160"/>
              <a:gd name="connsiteY1" fmla="*/ 0 h 5143498"/>
              <a:gd name="connsiteX2" fmla="*/ 3185160 w 3185160"/>
              <a:gd name="connsiteY2" fmla="*/ 4775570 h 5143498"/>
              <a:gd name="connsiteX3" fmla="*/ 3100298 w 3185160"/>
              <a:gd name="connsiteY3" fmla="*/ 4729831 h 5143498"/>
              <a:gd name="connsiteX4" fmla="*/ 2686609 w 3185160"/>
              <a:gd name="connsiteY4" fmla="*/ 4729831 h 5143498"/>
              <a:gd name="connsiteX5" fmla="*/ 2686609 w 3185160"/>
              <a:gd name="connsiteY5" fmla="*/ 4936636 h 5143498"/>
              <a:gd name="connsiteX6" fmla="*/ 2828043 w 3185160"/>
              <a:gd name="connsiteY6" fmla="*/ 5016173 h 5143498"/>
              <a:gd name="connsiteX7" fmla="*/ 3185160 w 3185160"/>
              <a:gd name="connsiteY7" fmla="*/ 5016173 h 5143498"/>
              <a:gd name="connsiteX8" fmla="*/ 3185160 w 3185160"/>
              <a:gd name="connsiteY8" fmla="*/ 5143498 h 5143498"/>
              <a:gd name="connsiteX9" fmla="*/ 0 w 3185160"/>
              <a:gd name="connsiteY9" fmla="*/ 5143498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85160" h="5143498">
                <a:moveTo>
                  <a:pt x="0" y="0"/>
                </a:moveTo>
                <a:lnTo>
                  <a:pt x="3185160" y="0"/>
                </a:lnTo>
                <a:lnTo>
                  <a:pt x="3185160" y="4775570"/>
                </a:lnTo>
                <a:lnTo>
                  <a:pt x="3100298" y="4729831"/>
                </a:lnTo>
                <a:lnTo>
                  <a:pt x="2686609" y="4729831"/>
                </a:lnTo>
                <a:lnTo>
                  <a:pt x="2686609" y="4936636"/>
                </a:lnTo>
                <a:lnTo>
                  <a:pt x="2828043" y="5016173"/>
                </a:lnTo>
                <a:lnTo>
                  <a:pt x="3185160" y="5016173"/>
                </a:lnTo>
                <a:lnTo>
                  <a:pt x="3185160" y="5143498"/>
                </a:lnTo>
                <a:lnTo>
                  <a:pt x="0" y="5143498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 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E2F61FA-D99C-B276-C519-7AE84C12C41D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39" name="Slide Number Placeholder 1">
            <a:extLst>
              <a:ext uri="{FF2B5EF4-FFF2-40B4-BE49-F238E27FC236}">
                <a16:creationId xmlns:a16="http://schemas.microsoft.com/office/drawing/2014/main" id="{ACB3E1EB-3D44-BC57-3801-294C57BD0E34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itle 17">
            <a:extLst>
              <a:ext uri="{FF2B5EF4-FFF2-40B4-BE49-F238E27FC236}">
                <a16:creationId xmlns:a16="http://schemas.microsoft.com/office/drawing/2014/main" id="{6744B5AA-9F5A-F22A-0371-27FD6D820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4460400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</a:t>
            </a:r>
            <a:br>
              <a:rPr lang="fr-FR" noProof="1"/>
            </a:br>
            <a:r>
              <a:rPr lang="fr-FR" noProof="1"/>
              <a:t>LA DIAPOSITIV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B843ABEA-91C4-CB6E-CE2D-310E9565E5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44604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6D5346-FE57-DF7B-D602-647EF005B61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443777-C14B-0897-4B3C-9E09BD1D00FC}"/>
              </a:ext>
            </a:extLst>
          </p:cNvPr>
          <p:cNvSpPr/>
          <p:nvPr userDrawn="1"/>
        </p:nvSpPr>
        <p:spPr>
          <a:xfrm>
            <a:off x="1" y="1532085"/>
            <a:ext cx="5958840" cy="31008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DF840FA-819F-FF43-0E52-377C52083200}"/>
              </a:ext>
            </a:extLst>
          </p:cNvPr>
          <p:cNvSpPr/>
          <p:nvPr userDrawn="1"/>
        </p:nvSpPr>
        <p:spPr>
          <a:xfrm>
            <a:off x="2061421" y="4592354"/>
            <a:ext cx="1836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2B61DAF3-ACA6-2CE0-1E57-C11F3528A5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600" y="1701011"/>
            <a:ext cx="446022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9BF5B3E0-D436-9C69-0504-05118FE3A1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7600" y="1971044"/>
            <a:ext cx="4460220" cy="249299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0" name="Text Placeholder 51">
            <a:extLst>
              <a:ext uri="{FF2B5EF4-FFF2-40B4-BE49-F238E27FC236}">
                <a16:creationId xmlns:a16="http://schemas.microsoft.com/office/drawing/2014/main" id="{EC66AE3F-79AD-C25A-259C-B93413029D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4681" y="408705"/>
            <a:ext cx="605956" cy="285750"/>
          </a:xfrm>
          <a:custGeom>
            <a:avLst/>
            <a:gdLst>
              <a:gd name="connsiteX0" fmla="*/ 0 w 605956"/>
              <a:gd name="connsiteY0" fmla="*/ 0 h 285750"/>
              <a:gd name="connsiteX1" fmla="*/ 605956 w 605956"/>
              <a:gd name="connsiteY1" fmla="*/ 0 h 285750"/>
              <a:gd name="connsiteX2" fmla="*/ 605956 w 605956"/>
              <a:gd name="connsiteY2" fmla="*/ 285750 h 285750"/>
              <a:gd name="connsiteX3" fmla="*/ 0 w 605956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956" h="285750">
                <a:moveTo>
                  <a:pt x="0" y="0"/>
                </a:moveTo>
                <a:lnTo>
                  <a:pt x="605956" y="0"/>
                </a:lnTo>
                <a:lnTo>
                  <a:pt x="605956" y="285750"/>
                </a:lnTo>
                <a:lnTo>
                  <a:pt x="0" y="285750"/>
                </a:lnTo>
                <a:close/>
              </a:path>
            </a:pathLst>
          </a:cu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bg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 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B89A372-6348-346A-9E14-386F8F695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533D2162-AF2B-4F41-AA11-372A17A66252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385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BB1473-DB75-8663-4D1A-312082165A65}"/>
              </a:ext>
            </a:extLst>
          </p:cNvPr>
          <p:cNvSpPr/>
          <p:nvPr userDrawn="1"/>
        </p:nvSpPr>
        <p:spPr>
          <a:xfrm>
            <a:off x="2199710" y="1348920"/>
            <a:ext cx="6944288" cy="145815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B42A47-9645-ACF5-5861-298CDD03DF99}"/>
              </a:ext>
            </a:extLst>
          </p:cNvPr>
          <p:cNvSpPr/>
          <p:nvPr userDrawn="1"/>
        </p:nvSpPr>
        <p:spPr>
          <a:xfrm>
            <a:off x="2199710" y="3037641"/>
            <a:ext cx="6944290" cy="14581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EA24B6D-BE24-FE3A-9EE4-345E6E66B440}"/>
              </a:ext>
            </a:extLst>
          </p:cNvPr>
          <p:cNvCxnSpPr/>
          <p:nvPr userDrawn="1"/>
        </p:nvCxnSpPr>
        <p:spPr>
          <a:xfrm>
            <a:off x="4524913" y="1650027"/>
            <a:ext cx="0" cy="8896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4FAD3F-E21B-BB5C-5343-6A2932B91325}"/>
              </a:ext>
            </a:extLst>
          </p:cNvPr>
          <p:cNvCxnSpPr>
            <a:cxnSpLocks/>
          </p:cNvCxnSpPr>
          <p:nvPr userDrawn="1"/>
        </p:nvCxnSpPr>
        <p:spPr>
          <a:xfrm>
            <a:off x="6742651" y="1616335"/>
            <a:ext cx="0" cy="8896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FF6101E-F098-4A96-9387-BA432AD4FDFB}"/>
              </a:ext>
            </a:extLst>
          </p:cNvPr>
          <p:cNvCxnSpPr>
            <a:cxnSpLocks/>
          </p:cNvCxnSpPr>
          <p:nvPr userDrawn="1"/>
        </p:nvCxnSpPr>
        <p:spPr>
          <a:xfrm>
            <a:off x="4524913" y="3321902"/>
            <a:ext cx="0" cy="8896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CB5851-639F-E3DC-7D45-95FE466042F0}"/>
              </a:ext>
            </a:extLst>
          </p:cNvPr>
          <p:cNvCxnSpPr>
            <a:cxnSpLocks/>
          </p:cNvCxnSpPr>
          <p:nvPr userDrawn="1"/>
        </p:nvCxnSpPr>
        <p:spPr>
          <a:xfrm>
            <a:off x="6742651" y="3321902"/>
            <a:ext cx="0" cy="8896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E34980E8-E1D4-4523-11ED-F8613E0254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348920"/>
            <a:ext cx="2199710" cy="314688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12" name="Text Placeholder 36">
            <a:extLst>
              <a:ext uri="{FF2B5EF4-FFF2-40B4-BE49-F238E27FC236}">
                <a16:creationId xmlns:a16="http://schemas.microsoft.com/office/drawing/2014/main" id="{FEF38A63-35E4-9A63-AB9E-751CED5405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50588" y="1616334"/>
            <a:ext cx="1930912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1741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3469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D04D9CA4-7AF3-DC39-A6BD-E67A5C664F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50588" y="3305055"/>
            <a:ext cx="1930912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741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3469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FEBE528F-C32C-BDC6-689F-4374120BB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8326" y="1616334"/>
            <a:ext cx="1930912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1741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3469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93F7F1D9-AAE4-CCD1-A5EC-05E389F896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8326" y="3305055"/>
            <a:ext cx="1930912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741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3469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C3F2463D-E53E-6791-C5D2-D8007F6334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86063" y="1616334"/>
            <a:ext cx="1930912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1741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3469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6625D483-667F-6C30-8601-F1B43B7856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86063" y="3305055"/>
            <a:ext cx="1930912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741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34695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96A8DF1-FDF3-8748-2E42-2B955230A1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22" name="Title 17">
            <a:extLst>
              <a:ext uri="{FF2B5EF4-FFF2-40B4-BE49-F238E27FC236}">
                <a16:creationId xmlns:a16="http://schemas.microsoft.com/office/drawing/2014/main" id="{B96741E7-7551-FE59-3816-D9BC41AF3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23" name="Graphic 76">
            <a:extLst>
              <a:ext uri="{FF2B5EF4-FFF2-40B4-BE49-F238E27FC236}">
                <a16:creationId xmlns:a16="http://schemas.microsoft.com/office/drawing/2014/main" id="{A76C8CC5-9364-C90E-DEB1-B195DDC5F7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0D0ABC6-0D69-3007-5EE2-16875027F1ED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BBE04017-272A-CD12-8153-D3EAE321C14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27" name="Slide Number Placeholder 1">
            <a:extLst>
              <a:ext uri="{FF2B5EF4-FFF2-40B4-BE49-F238E27FC236}">
                <a16:creationId xmlns:a16="http://schemas.microsoft.com/office/drawing/2014/main" id="{75681256-5861-6BA5-34BA-12FA4ABD6251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87388E5-93A6-D212-BD06-E79D15BC59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27A86B6C-DDCC-3E4E-B28B-07750FB814A1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4539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8D061BB-1B5C-6034-13DA-77BE85CCD141}"/>
              </a:ext>
            </a:extLst>
          </p:cNvPr>
          <p:cNvSpPr/>
          <p:nvPr userDrawn="1"/>
        </p:nvSpPr>
        <p:spPr>
          <a:xfrm>
            <a:off x="0" y="2818356"/>
            <a:ext cx="9144000" cy="2325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6228279-2046-27E2-6AEA-FAA05AB4931C}"/>
              </a:ext>
            </a:extLst>
          </p:cNvPr>
          <p:cNvSpPr/>
          <p:nvPr userDrawn="1"/>
        </p:nvSpPr>
        <p:spPr>
          <a:xfrm>
            <a:off x="1364485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4F1CDA-6C73-F34F-B974-78871C85E7A6}"/>
              </a:ext>
            </a:extLst>
          </p:cNvPr>
          <p:cNvSpPr/>
          <p:nvPr userDrawn="1"/>
        </p:nvSpPr>
        <p:spPr>
          <a:xfrm>
            <a:off x="4302000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1263C6-4257-6D7B-B0D3-21E038E533BB}"/>
              </a:ext>
            </a:extLst>
          </p:cNvPr>
          <p:cNvSpPr/>
          <p:nvPr userDrawn="1"/>
        </p:nvSpPr>
        <p:spPr>
          <a:xfrm>
            <a:off x="7239515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2F00A187-7CC1-41D7-84A2-63D7DBA6D9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218" y="161038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47" name="Text Placeholder 36">
            <a:extLst>
              <a:ext uri="{FF2B5EF4-FFF2-40B4-BE49-F238E27FC236}">
                <a16:creationId xmlns:a16="http://schemas.microsoft.com/office/drawing/2014/main" id="{66ED2BB5-0F09-0B50-FF7F-35C8631101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36733" y="161038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33C2DAC6-E9FA-BAB1-9927-C19CF7DBF4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4248" y="161038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0" name="Text Placeholder 36">
            <a:extLst>
              <a:ext uri="{FF2B5EF4-FFF2-40B4-BE49-F238E27FC236}">
                <a16:creationId xmlns:a16="http://schemas.microsoft.com/office/drawing/2014/main" id="{A91E8F16-8277-F0D1-49AE-4541F3C8BC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218" y="330484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B2EFF457-2B07-A49E-9F98-8FAD40C3BB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6733" y="330484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F7CCC67B-B77E-7E41-DB18-A6D534DAAB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4248" y="330484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8" name="Text Placeholder 36">
            <a:extLst>
              <a:ext uri="{FF2B5EF4-FFF2-40B4-BE49-F238E27FC236}">
                <a16:creationId xmlns:a16="http://schemas.microsoft.com/office/drawing/2014/main" id="{90C0BE38-DAAD-4DFD-3E67-31A5F6F48C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9218" y="213576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9" name="Text Placeholder 36">
            <a:extLst>
              <a:ext uri="{FF2B5EF4-FFF2-40B4-BE49-F238E27FC236}">
                <a16:creationId xmlns:a16="http://schemas.microsoft.com/office/drawing/2014/main" id="{B842465C-0B84-B0DB-EE14-BA1DF0F078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36733" y="213576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0" name="Text Placeholder 36">
            <a:extLst>
              <a:ext uri="{FF2B5EF4-FFF2-40B4-BE49-F238E27FC236}">
                <a16:creationId xmlns:a16="http://schemas.microsoft.com/office/drawing/2014/main" id="{5041F9C8-0FF4-ECED-441C-360F249907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4248" y="213576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2" name="Text Placeholder 36">
            <a:extLst>
              <a:ext uri="{FF2B5EF4-FFF2-40B4-BE49-F238E27FC236}">
                <a16:creationId xmlns:a16="http://schemas.microsoft.com/office/drawing/2014/main" id="{BBC716FB-853E-CE06-359F-1022DD0468A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9218" y="383022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3" name="Text Placeholder 36">
            <a:extLst>
              <a:ext uri="{FF2B5EF4-FFF2-40B4-BE49-F238E27FC236}">
                <a16:creationId xmlns:a16="http://schemas.microsoft.com/office/drawing/2014/main" id="{1F661CD4-F2BC-C964-AF61-C20D6F0621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36733" y="383022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4" name="Text Placeholder 36">
            <a:extLst>
              <a:ext uri="{FF2B5EF4-FFF2-40B4-BE49-F238E27FC236}">
                <a16:creationId xmlns:a16="http://schemas.microsoft.com/office/drawing/2014/main" id="{10BBDD58-E27B-FB78-7816-D09C279426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74248" y="383022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276F9898-332E-DCEE-133F-A51F04AED2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DB49929B-CDAD-624C-AF70-4C63D279F7B4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606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8D061BB-1B5C-6034-13DA-77BE85CCD141}"/>
              </a:ext>
            </a:extLst>
          </p:cNvPr>
          <p:cNvSpPr/>
          <p:nvPr userDrawn="1"/>
        </p:nvSpPr>
        <p:spPr>
          <a:xfrm>
            <a:off x="0" y="2818356"/>
            <a:ext cx="9144000" cy="2325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6228279-2046-27E2-6AEA-FAA05AB4931C}"/>
              </a:ext>
            </a:extLst>
          </p:cNvPr>
          <p:cNvSpPr/>
          <p:nvPr userDrawn="1"/>
        </p:nvSpPr>
        <p:spPr>
          <a:xfrm>
            <a:off x="1364485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4F1CDA-6C73-F34F-B974-78871C85E7A6}"/>
              </a:ext>
            </a:extLst>
          </p:cNvPr>
          <p:cNvSpPr/>
          <p:nvPr userDrawn="1"/>
        </p:nvSpPr>
        <p:spPr>
          <a:xfrm>
            <a:off x="4302000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1263C6-4257-6D7B-B0D3-21E038E533BB}"/>
              </a:ext>
            </a:extLst>
          </p:cNvPr>
          <p:cNvSpPr/>
          <p:nvPr userDrawn="1"/>
        </p:nvSpPr>
        <p:spPr>
          <a:xfrm>
            <a:off x="7239515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2F00A187-7CC1-41D7-84A2-63D7DBA6D9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218" y="161038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47" name="Text Placeholder 36">
            <a:extLst>
              <a:ext uri="{FF2B5EF4-FFF2-40B4-BE49-F238E27FC236}">
                <a16:creationId xmlns:a16="http://schemas.microsoft.com/office/drawing/2014/main" id="{66ED2BB5-0F09-0B50-FF7F-35C8631101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36733" y="161038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33C2DAC6-E9FA-BAB1-9927-C19CF7DBF4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4248" y="161038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8" name="Text Placeholder 36">
            <a:extLst>
              <a:ext uri="{FF2B5EF4-FFF2-40B4-BE49-F238E27FC236}">
                <a16:creationId xmlns:a16="http://schemas.microsoft.com/office/drawing/2014/main" id="{90C0BE38-DAAD-4DFD-3E67-31A5F6F48C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9218" y="213576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59" name="Text Placeholder 36">
            <a:extLst>
              <a:ext uri="{FF2B5EF4-FFF2-40B4-BE49-F238E27FC236}">
                <a16:creationId xmlns:a16="http://schemas.microsoft.com/office/drawing/2014/main" id="{B842465C-0B84-B0DB-EE14-BA1DF0F078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36733" y="213576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0" name="Text Placeholder 36">
            <a:extLst>
              <a:ext uri="{FF2B5EF4-FFF2-40B4-BE49-F238E27FC236}">
                <a16:creationId xmlns:a16="http://schemas.microsoft.com/office/drawing/2014/main" id="{5041F9C8-0FF4-ECED-441C-360F249907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4248" y="213576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5" name="Picture Placeholder 8">
            <a:extLst>
              <a:ext uri="{FF2B5EF4-FFF2-40B4-BE49-F238E27FC236}">
                <a16:creationId xmlns:a16="http://schemas.microsoft.com/office/drawing/2014/main" id="{950205DB-C7EF-E8EA-0541-8ED7589A685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344420" y="1071909"/>
            <a:ext cx="540000" cy="54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7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66" name="Picture Placeholder 8">
            <a:extLst>
              <a:ext uri="{FF2B5EF4-FFF2-40B4-BE49-F238E27FC236}">
                <a16:creationId xmlns:a16="http://schemas.microsoft.com/office/drawing/2014/main" id="{24FB7807-40A1-FE55-9A70-D667FBA3CAB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281935" y="1071909"/>
            <a:ext cx="540000" cy="54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7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67" name="Picture Placeholder 8">
            <a:extLst>
              <a:ext uri="{FF2B5EF4-FFF2-40B4-BE49-F238E27FC236}">
                <a16:creationId xmlns:a16="http://schemas.microsoft.com/office/drawing/2014/main" id="{C3BA0ECF-BD37-7C8B-660A-EF2E2671893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219450" y="1071909"/>
            <a:ext cx="540000" cy="54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7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68" name="Text Placeholder 36">
            <a:extLst>
              <a:ext uri="{FF2B5EF4-FFF2-40B4-BE49-F238E27FC236}">
                <a16:creationId xmlns:a16="http://schemas.microsoft.com/office/drawing/2014/main" id="{0D1729AA-0D1C-88CE-3F0E-EE2B304918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9218" y="352660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69" name="Text Placeholder 36">
            <a:extLst>
              <a:ext uri="{FF2B5EF4-FFF2-40B4-BE49-F238E27FC236}">
                <a16:creationId xmlns:a16="http://schemas.microsoft.com/office/drawing/2014/main" id="{C86DF405-6CC9-4F91-E8DD-D4EA5C5BF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733" y="352660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70" name="Text Placeholder 36">
            <a:extLst>
              <a:ext uri="{FF2B5EF4-FFF2-40B4-BE49-F238E27FC236}">
                <a16:creationId xmlns:a16="http://schemas.microsoft.com/office/drawing/2014/main" id="{4A3A9E76-091A-AF2B-07E7-B7D198EADF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4248" y="352660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71" name="Text Placeholder 36">
            <a:extLst>
              <a:ext uri="{FF2B5EF4-FFF2-40B4-BE49-F238E27FC236}">
                <a16:creationId xmlns:a16="http://schemas.microsoft.com/office/drawing/2014/main" id="{784BFAF2-2F54-4EB8-4955-FEC3E7F512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9218" y="405198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2" name="Text Placeholder 36">
            <a:extLst>
              <a:ext uri="{FF2B5EF4-FFF2-40B4-BE49-F238E27FC236}">
                <a16:creationId xmlns:a16="http://schemas.microsoft.com/office/drawing/2014/main" id="{F1374574-B23A-5928-ECD3-B26EF39D621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6733" y="405198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3" name="Text Placeholder 36">
            <a:extLst>
              <a:ext uri="{FF2B5EF4-FFF2-40B4-BE49-F238E27FC236}">
                <a16:creationId xmlns:a16="http://schemas.microsoft.com/office/drawing/2014/main" id="{F99E4644-DFB5-9617-42F9-0BBDDCFEF3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74248" y="405198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4" name="Picture Placeholder 8">
            <a:extLst>
              <a:ext uri="{FF2B5EF4-FFF2-40B4-BE49-F238E27FC236}">
                <a16:creationId xmlns:a16="http://schemas.microsoft.com/office/drawing/2014/main" id="{6A3A63F6-14A9-4026-3806-88279240B73C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344420" y="2988129"/>
            <a:ext cx="540000" cy="54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7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75" name="Picture Placeholder 8">
            <a:extLst>
              <a:ext uri="{FF2B5EF4-FFF2-40B4-BE49-F238E27FC236}">
                <a16:creationId xmlns:a16="http://schemas.microsoft.com/office/drawing/2014/main" id="{C705D5F2-24B3-747C-B382-87B6488D0FE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81935" y="2988129"/>
            <a:ext cx="540000" cy="54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7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76" name="Picture Placeholder 8">
            <a:extLst>
              <a:ext uri="{FF2B5EF4-FFF2-40B4-BE49-F238E27FC236}">
                <a16:creationId xmlns:a16="http://schemas.microsoft.com/office/drawing/2014/main" id="{BBDD3134-0C58-46C7-27AB-05CC545868E8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7219450" y="2988129"/>
            <a:ext cx="540000" cy="540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7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1B2FBAA-DD1A-9584-5263-22E699CB4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DA0C886B-78A3-2E43-A608-CF694B0420F4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8828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8D061BB-1B5C-6034-13DA-77BE85CCD141}"/>
              </a:ext>
            </a:extLst>
          </p:cNvPr>
          <p:cNvSpPr/>
          <p:nvPr userDrawn="1"/>
        </p:nvSpPr>
        <p:spPr>
          <a:xfrm>
            <a:off x="0" y="2818356"/>
            <a:ext cx="9144000" cy="2325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64F1CDA-6C73-F34F-B974-78871C85E7A6}"/>
              </a:ext>
            </a:extLst>
          </p:cNvPr>
          <p:cNvSpPr/>
          <p:nvPr userDrawn="1"/>
        </p:nvSpPr>
        <p:spPr>
          <a:xfrm>
            <a:off x="4302000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B2EFF457-2B07-A49E-9F98-8FAD40C3BB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6733" y="330484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1F661CD4-F2BC-C964-AF61-C20D6F0621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36733" y="383022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6F63640E-6B53-C116-2F14-8B8FC7679F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260554"/>
            <a:ext cx="7192380" cy="110372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7C1A2D2C-AAFC-F775-91FD-51240F5FD4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06B4FC55-8A57-3E43-BB9E-372CD6F7D3E1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4900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8D061BB-1B5C-6034-13DA-77BE85CCD141}"/>
              </a:ext>
            </a:extLst>
          </p:cNvPr>
          <p:cNvSpPr/>
          <p:nvPr userDrawn="1"/>
        </p:nvSpPr>
        <p:spPr>
          <a:xfrm>
            <a:off x="0" y="2818356"/>
            <a:ext cx="9144000" cy="2325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6228279-2046-27E2-6AEA-FAA05AB4931C}"/>
              </a:ext>
            </a:extLst>
          </p:cNvPr>
          <p:cNvSpPr/>
          <p:nvPr userDrawn="1"/>
        </p:nvSpPr>
        <p:spPr>
          <a:xfrm>
            <a:off x="2321218" y="277361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1263C6-4257-6D7B-B0D3-21E038E533BB}"/>
              </a:ext>
            </a:extLst>
          </p:cNvPr>
          <p:cNvSpPr/>
          <p:nvPr userDrawn="1"/>
        </p:nvSpPr>
        <p:spPr>
          <a:xfrm>
            <a:off x="6047703" y="2779524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 Placeholder 36">
            <a:extLst>
              <a:ext uri="{FF2B5EF4-FFF2-40B4-BE49-F238E27FC236}">
                <a16:creationId xmlns:a16="http://schemas.microsoft.com/office/drawing/2014/main" id="{A91E8F16-8277-F0D1-49AE-4541F3C8BC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55951" y="3300592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F7CCC67B-B77E-7E41-DB18-A6D534DAAB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2436" y="3306500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62" name="Text Placeholder 36">
            <a:extLst>
              <a:ext uri="{FF2B5EF4-FFF2-40B4-BE49-F238E27FC236}">
                <a16:creationId xmlns:a16="http://schemas.microsoft.com/office/drawing/2014/main" id="{BBC716FB-853E-CE06-359F-1022DD0468A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55951" y="3825975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4" name="Text Placeholder 36">
            <a:extLst>
              <a:ext uri="{FF2B5EF4-FFF2-40B4-BE49-F238E27FC236}">
                <a16:creationId xmlns:a16="http://schemas.microsoft.com/office/drawing/2014/main" id="{10BBDD58-E27B-FB78-7816-D09C279426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2436" y="3831883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6F63640E-6B53-C116-2F14-8B8FC7679F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260554"/>
            <a:ext cx="7192380" cy="1103728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31DEC5-214E-1C3E-7676-2AA41AB597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D4256F6A-8C01-3242-B982-72750D6A36BC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2193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8D061BB-1B5C-6034-13DA-77BE85CCD141}"/>
              </a:ext>
            </a:extLst>
          </p:cNvPr>
          <p:cNvSpPr/>
          <p:nvPr userDrawn="1"/>
        </p:nvSpPr>
        <p:spPr>
          <a:xfrm>
            <a:off x="0" y="2818356"/>
            <a:ext cx="9144000" cy="2325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6228279-2046-27E2-6AEA-FAA05AB4931C}"/>
              </a:ext>
            </a:extLst>
          </p:cNvPr>
          <p:cNvSpPr/>
          <p:nvPr userDrawn="1"/>
        </p:nvSpPr>
        <p:spPr>
          <a:xfrm>
            <a:off x="1364485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4F1CDA-6C73-F34F-B974-78871C85E7A6}"/>
              </a:ext>
            </a:extLst>
          </p:cNvPr>
          <p:cNvSpPr/>
          <p:nvPr userDrawn="1"/>
        </p:nvSpPr>
        <p:spPr>
          <a:xfrm>
            <a:off x="4302000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1263C6-4257-6D7B-B0D3-21E038E533BB}"/>
              </a:ext>
            </a:extLst>
          </p:cNvPr>
          <p:cNvSpPr/>
          <p:nvPr userDrawn="1"/>
        </p:nvSpPr>
        <p:spPr>
          <a:xfrm>
            <a:off x="7239515" y="277786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 Placeholder 36">
            <a:extLst>
              <a:ext uri="{FF2B5EF4-FFF2-40B4-BE49-F238E27FC236}">
                <a16:creationId xmlns:a16="http://schemas.microsoft.com/office/drawing/2014/main" id="{A91E8F16-8277-F0D1-49AE-4541F3C8BC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218" y="330484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B2EFF457-2B07-A49E-9F98-8FAD40C3BB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6733" y="330484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F7CCC67B-B77E-7E41-DB18-A6D534DAAB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4248" y="3304841"/>
            <a:ext cx="2270534" cy="492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3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X</a:t>
            </a:r>
          </a:p>
        </p:txBody>
      </p:sp>
      <p:sp>
        <p:nvSpPr>
          <p:cNvPr id="62" name="Text Placeholder 36">
            <a:extLst>
              <a:ext uri="{FF2B5EF4-FFF2-40B4-BE49-F238E27FC236}">
                <a16:creationId xmlns:a16="http://schemas.microsoft.com/office/drawing/2014/main" id="{BBC716FB-853E-CE06-359F-1022DD0468A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9218" y="383022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3" name="Text Placeholder 36">
            <a:extLst>
              <a:ext uri="{FF2B5EF4-FFF2-40B4-BE49-F238E27FC236}">
                <a16:creationId xmlns:a16="http://schemas.microsoft.com/office/drawing/2014/main" id="{1F661CD4-F2BC-C964-AF61-C20D6F0621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36733" y="383022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4" name="Text Placeholder 36">
            <a:extLst>
              <a:ext uri="{FF2B5EF4-FFF2-40B4-BE49-F238E27FC236}">
                <a16:creationId xmlns:a16="http://schemas.microsoft.com/office/drawing/2014/main" id="{10BBDD58-E27B-FB78-7816-D09C279426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74248" y="3830224"/>
            <a:ext cx="2270534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" name="Text Placeholder 36">
            <a:extLst>
              <a:ext uri="{FF2B5EF4-FFF2-40B4-BE49-F238E27FC236}">
                <a16:creationId xmlns:a16="http://schemas.microsoft.com/office/drawing/2014/main" id="{6F63640E-6B53-C116-2F14-8B8FC7679F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260554"/>
            <a:ext cx="7192380" cy="110372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765BA6-9095-4DB9-BD21-FCE001E070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359F3EF6-35EE-F94E-B21E-83850B724259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0503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1187989-83FD-CABA-A8E0-7CDF42A48EA8}"/>
              </a:ext>
            </a:extLst>
          </p:cNvPr>
          <p:cNvSpPr/>
          <p:nvPr userDrawn="1"/>
        </p:nvSpPr>
        <p:spPr>
          <a:xfrm>
            <a:off x="0" y="3373821"/>
            <a:ext cx="9144000" cy="1769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" name="Freeform 10">
            <a:extLst>
              <a:ext uri="{FF2B5EF4-FFF2-40B4-BE49-F238E27FC236}">
                <a16:creationId xmlns:a16="http://schemas.microsoft.com/office/drawing/2014/main" id="{1A21F603-9245-3FEE-E4F2-D2049B79DEB9}"/>
              </a:ext>
            </a:extLst>
          </p:cNvPr>
          <p:cNvSpPr>
            <a:spLocks/>
          </p:cNvSpPr>
          <p:nvPr userDrawn="1"/>
        </p:nvSpPr>
        <p:spPr bwMode="auto">
          <a:xfrm>
            <a:off x="824833" y="1309492"/>
            <a:ext cx="3547584" cy="32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noProof="1"/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C0BB70BE-F300-5850-F25A-4FE4F7933619}"/>
              </a:ext>
            </a:extLst>
          </p:cNvPr>
          <p:cNvSpPr/>
          <p:nvPr userDrawn="1"/>
        </p:nvSpPr>
        <p:spPr>
          <a:xfrm flipH="1">
            <a:off x="1454867" y="1133616"/>
            <a:ext cx="2287517" cy="875020"/>
          </a:xfrm>
          <a:custGeom>
            <a:avLst/>
            <a:gdLst>
              <a:gd name="connsiteX0" fmla="*/ 2287517 w 2287517"/>
              <a:gd name="connsiteY0" fmla="*/ 0 h 875020"/>
              <a:gd name="connsiteX1" fmla="*/ 1523500 w 2287517"/>
              <a:gd name="connsiteY1" fmla="*/ 0 h 875020"/>
              <a:gd name="connsiteX2" fmla="*/ 759483 w 2287517"/>
              <a:gd name="connsiteY2" fmla="*/ 0 h 875020"/>
              <a:gd name="connsiteX3" fmla="*/ 259319 w 2287517"/>
              <a:gd name="connsiteY3" fmla="*/ 0 h 875020"/>
              <a:gd name="connsiteX4" fmla="*/ 0 w 2287517"/>
              <a:gd name="connsiteY4" fmla="*/ 139760 h 875020"/>
              <a:gd name="connsiteX5" fmla="*/ 0 w 2287517"/>
              <a:gd name="connsiteY5" fmla="*/ 875020 h 875020"/>
              <a:gd name="connsiteX6" fmla="*/ 759483 w 2287517"/>
              <a:gd name="connsiteY6" fmla="*/ 875020 h 875020"/>
              <a:gd name="connsiteX7" fmla="*/ 1523500 w 2287517"/>
              <a:gd name="connsiteY7" fmla="*/ 875020 h 875020"/>
              <a:gd name="connsiteX8" fmla="*/ 1855318 w 2287517"/>
              <a:gd name="connsiteY8" fmla="*/ 875020 h 875020"/>
              <a:gd name="connsiteX9" fmla="*/ 2287517 w 2287517"/>
              <a:gd name="connsiteY9" fmla="*/ 631959 h 87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7517" h="875020">
                <a:moveTo>
                  <a:pt x="2287517" y="0"/>
                </a:moveTo>
                <a:lnTo>
                  <a:pt x="1523500" y="0"/>
                </a:lnTo>
                <a:lnTo>
                  <a:pt x="759483" y="0"/>
                </a:lnTo>
                <a:lnTo>
                  <a:pt x="259319" y="0"/>
                </a:lnTo>
                <a:lnTo>
                  <a:pt x="0" y="139760"/>
                </a:lnTo>
                <a:lnTo>
                  <a:pt x="0" y="875020"/>
                </a:lnTo>
                <a:lnTo>
                  <a:pt x="759483" y="875020"/>
                </a:lnTo>
                <a:lnTo>
                  <a:pt x="1523500" y="875020"/>
                </a:lnTo>
                <a:lnTo>
                  <a:pt x="1855318" y="875020"/>
                </a:lnTo>
                <a:lnTo>
                  <a:pt x="2287517" y="631959"/>
                </a:lnTo>
                <a:close/>
              </a:path>
            </a:pathLst>
          </a:custGeom>
          <a:solidFill>
            <a:srgbClr val="000000"/>
          </a:solidFill>
          <a:ln w="10741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2CE3492A-36B4-C348-85A2-44211CF8B165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1653950" y="1494182"/>
            <a:ext cx="1889350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D30094DB-A916-B6C6-2F62-C229CA11827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68832" y="2121331"/>
            <a:ext cx="3259585" cy="210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8" name="Freeform 10">
            <a:extLst>
              <a:ext uri="{FF2B5EF4-FFF2-40B4-BE49-F238E27FC236}">
                <a16:creationId xmlns:a16="http://schemas.microsoft.com/office/drawing/2014/main" id="{4A324669-CEDC-5409-6CAD-DD67A243E426}"/>
              </a:ext>
            </a:extLst>
          </p:cNvPr>
          <p:cNvSpPr>
            <a:spLocks/>
          </p:cNvSpPr>
          <p:nvPr userDrawn="1"/>
        </p:nvSpPr>
        <p:spPr bwMode="auto">
          <a:xfrm>
            <a:off x="4771584" y="1309492"/>
            <a:ext cx="3547584" cy="32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noProof="1"/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02CCF608-A193-91C9-3A6B-AA67D892C36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915584" y="2121331"/>
            <a:ext cx="3259585" cy="210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F79A1BD5-FB0B-7746-0495-F62B9D47F58E}"/>
              </a:ext>
            </a:extLst>
          </p:cNvPr>
          <p:cNvSpPr/>
          <p:nvPr userDrawn="1"/>
        </p:nvSpPr>
        <p:spPr>
          <a:xfrm flipH="1">
            <a:off x="5401618" y="1133616"/>
            <a:ext cx="2287517" cy="875020"/>
          </a:xfrm>
          <a:custGeom>
            <a:avLst/>
            <a:gdLst>
              <a:gd name="connsiteX0" fmla="*/ 2287517 w 2287517"/>
              <a:gd name="connsiteY0" fmla="*/ 0 h 875020"/>
              <a:gd name="connsiteX1" fmla="*/ 1523500 w 2287517"/>
              <a:gd name="connsiteY1" fmla="*/ 0 h 875020"/>
              <a:gd name="connsiteX2" fmla="*/ 759483 w 2287517"/>
              <a:gd name="connsiteY2" fmla="*/ 0 h 875020"/>
              <a:gd name="connsiteX3" fmla="*/ 259319 w 2287517"/>
              <a:gd name="connsiteY3" fmla="*/ 0 h 875020"/>
              <a:gd name="connsiteX4" fmla="*/ 0 w 2287517"/>
              <a:gd name="connsiteY4" fmla="*/ 139760 h 875020"/>
              <a:gd name="connsiteX5" fmla="*/ 0 w 2287517"/>
              <a:gd name="connsiteY5" fmla="*/ 875020 h 875020"/>
              <a:gd name="connsiteX6" fmla="*/ 759483 w 2287517"/>
              <a:gd name="connsiteY6" fmla="*/ 875020 h 875020"/>
              <a:gd name="connsiteX7" fmla="*/ 1523500 w 2287517"/>
              <a:gd name="connsiteY7" fmla="*/ 875020 h 875020"/>
              <a:gd name="connsiteX8" fmla="*/ 1855318 w 2287517"/>
              <a:gd name="connsiteY8" fmla="*/ 875020 h 875020"/>
              <a:gd name="connsiteX9" fmla="*/ 2287517 w 2287517"/>
              <a:gd name="connsiteY9" fmla="*/ 631959 h 87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87517" h="875020">
                <a:moveTo>
                  <a:pt x="2287517" y="0"/>
                </a:moveTo>
                <a:lnTo>
                  <a:pt x="1523500" y="0"/>
                </a:lnTo>
                <a:lnTo>
                  <a:pt x="759483" y="0"/>
                </a:lnTo>
                <a:lnTo>
                  <a:pt x="259319" y="0"/>
                </a:lnTo>
                <a:lnTo>
                  <a:pt x="0" y="139760"/>
                </a:lnTo>
                <a:lnTo>
                  <a:pt x="0" y="875020"/>
                </a:lnTo>
                <a:lnTo>
                  <a:pt x="759483" y="875020"/>
                </a:lnTo>
                <a:lnTo>
                  <a:pt x="1523500" y="875020"/>
                </a:lnTo>
                <a:lnTo>
                  <a:pt x="1855318" y="875020"/>
                </a:lnTo>
                <a:lnTo>
                  <a:pt x="2287517" y="631959"/>
                </a:lnTo>
                <a:close/>
              </a:path>
            </a:pathLst>
          </a:custGeom>
          <a:solidFill>
            <a:srgbClr val="000000"/>
          </a:solidFill>
          <a:ln w="10741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sp>
        <p:nvSpPr>
          <p:cNvPr id="67" name="Text Placeholder 36">
            <a:extLst>
              <a:ext uri="{FF2B5EF4-FFF2-40B4-BE49-F238E27FC236}">
                <a16:creationId xmlns:a16="http://schemas.microsoft.com/office/drawing/2014/main" id="{2443404D-DC5C-8859-05AE-08D9C65E28B2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600701" y="1494182"/>
            <a:ext cx="1889350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8B16932-D76D-A608-8D2D-D21A29F34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5A711653-77DD-9447-95E5-883243290F83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1689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1187989-83FD-CABA-A8E0-7CDF42A48EA8}"/>
              </a:ext>
            </a:extLst>
          </p:cNvPr>
          <p:cNvSpPr/>
          <p:nvPr userDrawn="1"/>
        </p:nvSpPr>
        <p:spPr>
          <a:xfrm>
            <a:off x="0" y="3373821"/>
            <a:ext cx="9144000" cy="1769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reeform 10">
            <a:extLst>
              <a:ext uri="{FF2B5EF4-FFF2-40B4-BE49-F238E27FC236}">
                <a16:creationId xmlns:a16="http://schemas.microsoft.com/office/drawing/2014/main" id="{1A21F603-9245-3FEE-E4F2-D2049B79DEB9}"/>
              </a:ext>
            </a:extLst>
          </p:cNvPr>
          <p:cNvSpPr>
            <a:spLocks/>
          </p:cNvSpPr>
          <p:nvPr userDrawn="1"/>
        </p:nvSpPr>
        <p:spPr bwMode="auto">
          <a:xfrm>
            <a:off x="824833" y="1309492"/>
            <a:ext cx="2232000" cy="32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noProof="1"/>
          </a:p>
        </p:txBody>
      </p:sp>
      <p:sp>
        <p:nvSpPr>
          <p:cNvPr id="5" name="Freeform 10">
            <a:extLst>
              <a:ext uri="{FF2B5EF4-FFF2-40B4-BE49-F238E27FC236}">
                <a16:creationId xmlns:a16="http://schemas.microsoft.com/office/drawing/2014/main" id="{0692A443-7FDF-42DD-7EDA-30AF59E9CA4F}"/>
              </a:ext>
            </a:extLst>
          </p:cNvPr>
          <p:cNvSpPr>
            <a:spLocks/>
          </p:cNvSpPr>
          <p:nvPr userDrawn="1"/>
        </p:nvSpPr>
        <p:spPr bwMode="auto">
          <a:xfrm>
            <a:off x="6087168" y="1309492"/>
            <a:ext cx="2232000" cy="32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noProof="1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8277699-D15C-FD96-A25B-D3556B6304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179083" y="1133616"/>
            <a:ext cx="1523500" cy="87502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D49B358-8BF0-BB09-B50B-7A8231EED1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6441418" y="1133616"/>
            <a:ext cx="1523500" cy="875020"/>
          </a:xfrm>
          <a:prstGeom prst="rect">
            <a:avLst/>
          </a:prstGeom>
        </p:spPr>
      </p:pic>
      <p:sp>
        <p:nvSpPr>
          <p:cNvPr id="12" name="Freeform 10">
            <a:extLst>
              <a:ext uri="{FF2B5EF4-FFF2-40B4-BE49-F238E27FC236}">
                <a16:creationId xmlns:a16="http://schemas.microsoft.com/office/drawing/2014/main" id="{0D1B3988-1A1E-38BE-979D-2B3F39F9488A}"/>
              </a:ext>
            </a:extLst>
          </p:cNvPr>
          <p:cNvSpPr>
            <a:spLocks/>
          </p:cNvSpPr>
          <p:nvPr userDrawn="1"/>
        </p:nvSpPr>
        <p:spPr bwMode="auto">
          <a:xfrm>
            <a:off x="3456000" y="1309492"/>
            <a:ext cx="2232000" cy="32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noProof="1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C002983-B486-B8EE-2587-8014FA80E1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3810250" y="1144503"/>
            <a:ext cx="1523500" cy="875020"/>
          </a:xfrm>
          <a:prstGeom prst="rect">
            <a:avLst/>
          </a:prstGeom>
        </p:spPr>
      </p:pic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2CE3492A-36B4-C348-85A2-44211CF8B1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45146" y="1494182"/>
            <a:ext cx="1391374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878A3069-4790-77B4-A4AE-9D955F58E4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76313" y="1494182"/>
            <a:ext cx="1391374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3456DB28-75CF-85DC-A89A-263536FA8D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07481" y="1494182"/>
            <a:ext cx="1391374" cy="153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D30094DB-A916-B6C6-2F62-C229CA1182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833" y="2121331"/>
            <a:ext cx="1944000" cy="210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3B51B1A5-925A-180F-3D5B-EE02AC67FC0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0" y="2121331"/>
            <a:ext cx="1944000" cy="210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174800D3-B798-C6AF-CB90-775C85A6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31168" y="2121331"/>
            <a:ext cx="1944000" cy="210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5AAB36B-EA2A-E164-C6C1-B707DE1D21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1D6E2859-C832-9742-88FE-618A0D044473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4540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9CD6494-0438-11C2-E4FD-B36CD5BA6B8F}"/>
              </a:ext>
            </a:extLst>
          </p:cNvPr>
          <p:cNvSpPr/>
          <p:nvPr userDrawn="1"/>
        </p:nvSpPr>
        <p:spPr>
          <a:xfrm>
            <a:off x="-4247" y="2181499"/>
            <a:ext cx="9152495" cy="2962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ADE3203-1003-0B04-5A2E-1928617F7B12}"/>
              </a:ext>
            </a:extLst>
          </p:cNvPr>
          <p:cNvSpPr/>
          <p:nvPr userDrawn="1"/>
        </p:nvSpPr>
        <p:spPr>
          <a:xfrm>
            <a:off x="2327495" y="215087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AC9790A-3E3C-4637-FE0F-8D21E23DD9D7}"/>
              </a:ext>
            </a:extLst>
          </p:cNvPr>
          <p:cNvSpPr/>
          <p:nvPr userDrawn="1"/>
        </p:nvSpPr>
        <p:spPr>
          <a:xfrm>
            <a:off x="6270529" y="215087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18855C5-443E-8942-B6F8-E311796DCDEA}"/>
              </a:ext>
            </a:extLst>
          </p:cNvPr>
          <p:cNvCxnSpPr>
            <a:cxnSpLocks/>
          </p:cNvCxnSpPr>
          <p:nvPr userDrawn="1"/>
        </p:nvCxnSpPr>
        <p:spPr>
          <a:xfrm>
            <a:off x="4572000" y="2440375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7">
            <a:extLst>
              <a:ext uri="{FF2B5EF4-FFF2-40B4-BE49-F238E27FC236}">
                <a16:creationId xmlns:a16="http://schemas.microsoft.com/office/drawing/2014/main" id="{A59E1172-B87C-362D-6251-AF49C0110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8" name="Graphic 76">
            <a:extLst>
              <a:ext uri="{FF2B5EF4-FFF2-40B4-BE49-F238E27FC236}">
                <a16:creationId xmlns:a16="http://schemas.microsoft.com/office/drawing/2014/main" id="{1B9ADE9E-642F-C5E1-A388-654D3BAF65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74F0AD-AC6C-A751-2B03-13DA38920C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BED0B0-4448-73D2-4EB7-6264326E4B9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C7712A73-DB44-485B-B92E-24B155D742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32897" y="1848610"/>
            <a:ext cx="2329198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F3DE1F67-A081-3982-C4CE-72EF2A3D9C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75931" y="1848610"/>
            <a:ext cx="2329198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45" name="Text Placeholder 36">
            <a:extLst>
              <a:ext uri="{FF2B5EF4-FFF2-40B4-BE49-F238E27FC236}">
                <a16:creationId xmlns:a16="http://schemas.microsoft.com/office/drawing/2014/main" id="{8AAF928C-015E-C700-5F4B-E1B24546BF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599" y="2440374"/>
            <a:ext cx="3279792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537A7C79-D3F1-0F86-A30B-FDBCA6224F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00632" y="2440374"/>
            <a:ext cx="3279794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3BE9E00-80B3-8ED1-6D4B-D3BDB9BC8F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82B571A6-09D8-AA47-9A1F-2BE92DFC7A6F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049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76">
            <a:extLst>
              <a:ext uri="{FF2B5EF4-FFF2-40B4-BE49-F238E27FC236}">
                <a16:creationId xmlns:a16="http://schemas.microsoft.com/office/drawing/2014/main" id="{DA60E478-017B-F4CC-93E4-A297E59C5B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936D971-693E-6734-ED8B-A49BD35AE605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36D0C2A-6D6F-19F5-4FE8-114A9512291C}"/>
              </a:ext>
            </a:extLst>
          </p:cNvPr>
          <p:cNvSpPr/>
          <p:nvPr userDrawn="1"/>
        </p:nvSpPr>
        <p:spPr>
          <a:xfrm>
            <a:off x="0" y="4047214"/>
            <a:ext cx="9144000" cy="10962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D58F84A-B2E2-B5DA-307B-52A69BC12E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C0AB3EFF-A18A-619B-6E66-2B6B8374BC5B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532DD50-672F-977B-C875-E43DDA308272}"/>
              </a:ext>
            </a:extLst>
          </p:cNvPr>
          <p:cNvSpPr/>
          <p:nvPr userDrawn="1"/>
        </p:nvSpPr>
        <p:spPr>
          <a:xfrm>
            <a:off x="1187078" y="1593969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1C78CC-125A-FC79-16BF-83B48F76B8C2}"/>
              </a:ext>
            </a:extLst>
          </p:cNvPr>
          <p:cNvSpPr/>
          <p:nvPr userDrawn="1"/>
        </p:nvSpPr>
        <p:spPr>
          <a:xfrm>
            <a:off x="3263693" y="1593969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326DABD-6F47-819C-E00D-97A9E730F839}"/>
              </a:ext>
            </a:extLst>
          </p:cNvPr>
          <p:cNvSpPr/>
          <p:nvPr userDrawn="1"/>
        </p:nvSpPr>
        <p:spPr>
          <a:xfrm>
            <a:off x="5340308" y="1593969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FE402BC-37F0-0592-5228-25A334F0F59F}"/>
              </a:ext>
            </a:extLst>
          </p:cNvPr>
          <p:cNvSpPr/>
          <p:nvPr userDrawn="1"/>
        </p:nvSpPr>
        <p:spPr>
          <a:xfrm>
            <a:off x="7416923" y="1593969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A2AC654-40C5-E3CE-3199-BC6912C1787D}"/>
              </a:ext>
            </a:extLst>
          </p:cNvPr>
          <p:cNvSpPr/>
          <p:nvPr userDrawn="1"/>
        </p:nvSpPr>
        <p:spPr>
          <a:xfrm>
            <a:off x="1187078" y="2952640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1717272-6D99-0F87-FEEE-74D12A78F4DA}"/>
              </a:ext>
            </a:extLst>
          </p:cNvPr>
          <p:cNvSpPr/>
          <p:nvPr userDrawn="1"/>
        </p:nvSpPr>
        <p:spPr>
          <a:xfrm>
            <a:off x="3263693" y="2952640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758366B-D1C0-194B-78F6-8D8DCF622A76}"/>
              </a:ext>
            </a:extLst>
          </p:cNvPr>
          <p:cNvSpPr/>
          <p:nvPr userDrawn="1"/>
        </p:nvSpPr>
        <p:spPr>
          <a:xfrm>
            <a:off x="5340308" y="2952640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09A649C-79E7-BE7D-FA30-150B51B009B8}"/>
              </a:ext>
            </a:extLst>
          </p:cNvPr>
          <p:cNvSpPr/>
          <p:nvPr userDrawn="1"/>
        </p:nvSpPr>
        <p:spPr>
          <a:xfrm>
            <a:off x="7416923" y="2952640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60" name="Text Placeholder 36">
            <a:extLst>
              <a:ext uri="{FF2B5EF4-FFF2-40B4-BE49-F238E27FC236}">
                <a16:creationId xmlns:a16="http://schemas.microsoft.com/office/drawing/2014/main" id="{594193B3-72A5-2032-B367-1422C5F2A5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878" y="1764437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61" name="Text Placeholder 36">
            <a:extLst>
              <a:ext uri="{FF2B5EF4-FFF2-40B4-BE49-F238E27FC236}">
                <a16:creationId xmlns:a16="http://schemas.microsoft.com/office/drawing/2014/main" id="{A0B8430D-A211-1AA0-3C91-88E6EFBC3F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2980" y="2059166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4" name="Text Placeholder 36">
            <a:extLst>
              <a:ext uri="{FF2B5EF4-FFF2-40B4-BE49-F238E27FC236}">
                <a16:creationId xmlns:a16="http://schemas.microsoft.com/office/drawing/2014/main" id="{09B4CC8E-848C-DAFF-AEE5-BE3BEA7D88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79493" y="1764437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71" name="Text Placeholder 36">
            <a:extLst>
              <a:ext uri="{FF2B5EF4-FFF2-40B4-BE49-F238E27FC236}">
                <a16:creationId xmlns:a16="http://schemas.microsoft.com/office/drawing/2014/main" id="{E06D90EB-2BF3-7C4A-8987-4ACCA6D4FD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56108" y="1764437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72" name="Text Placeholder 36">
            <a:extLst>
              <a:ext uri="{FF2B5EF4-FFF2-40B4-BE49-F238E27FC236}">
                <a16:creationId xmlns:a16="http://schemas.microsoft.com/office/drawing/2014/main" id="{217D6719-2AE0-A0C4-0760-7314549A84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32723" y="1764437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73" name="Text Placeholder 36">
            <a:extLst>
              <a:ext uri="{FF2B5EF4-FFF2-40B4-BE49-F238E27FC236}">
                <a16:creationId xmlns:a16="http://schemas.microsoft.com/office/drawing/2014/main" id="{1DB375C5-5403-000F-8198-7182FAF345D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79595" y="2059166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4" name="Text Placeholder 36">
            <a:extLst>
              <a:ext uri="{FF2B5EF4-FFF2-40B4-BE49-F238E27FC236}">
                <a16:creationId xmlns:a16="http://schemas.microsoft.com/office/drawing/2014/main" id="{7447C29E-7E79-BC32-E56B-0CC997A64E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6210" y="2059166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75" name="Text Placeholder 36">
            <a:extLst>
              <a:ext uri="{FF2B5EF4-FFF2-40B4-BE49-F238E27FC236}">
                <a16:creationId xmlns:a16="http://schemas.microsoft.com/office/drawing/2014/main" id="{CA9A9B08-1502-2FD9-E1C7-95132C51297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32825" y="2059166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84" name="Text Placeholder 36">
            <a:extLst>
              <a:ext uri="{FF2B5EF4-FFF2-40B4-BE49-F238E27FC236}">
                <a16:creationId xmlns:a16="http://schemas.microsoft.com/office/drawing/2014/main" id="{28FB4596-0ABC-5403-1EEC-0862A53B42C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2776" y="3121144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85" name="Text Placeholder 36">
            <a:extLst>
              <a:ext uri="{FF2B5EF4-FFF2-40B4-BE49-F238E27FC236}">
                <a16:creationId xmlns:a16="http://schemas.microsoft.com/office/drawing/2014/main" id="{FF69B56F-11A4-CF48-5BF3-FE25E98619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878" y="3415873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86" name="Text Placeholder 36">
            <a:extLst>
              <a:ext uri="{FF2B5EF4-FFF2-40B4-BE49-F238E27FC236}">
                <a16:creationId xmlns:a16="http://schemas.microsoft.com/office/drawing/2014/main" id="{78F29D3D-4FF7-3DFC-A622-5B095D895F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79391" y="3121144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87" name="Text Placeholder 36">
            <a:extLst>
              <a:ext uri="{FF2B5EF4-FFF2-40B4-BE49-F238E27FC236}">
                <a16:creationId xmlns:a16="http://schemas.microsoft.com/office/drawing/2014/main" id="{2E324B2B-9924-639B-AC67-3D49B4661D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56006" y="3121144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88" name="Text Placeholder 36">
            <a:extLst>
              <a:ext uri="{FF2B5EF4-FFF2-40B4-BE49-F238E27FC236}">
                <a16:creationId xmlns:a16="http://schemas.microsoft.com/office/drawing/2014/main" id="{26F0B1E2-EEE3-73A8-83DB-84F4F154104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32621" y="3121144"/>
            <a:ext cx="1508400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XX</a:t>
            </a:r>
          </a:p>
        </p:txBody>
      </p:sp>
      <p:sp>
        <p:nvSpPr>
          <p:cNvPr id="89" name="Text Placeholder 36">
            <a:extLst>
              <a:ext uri="{FF2B5EF4-FFF2-40B4-BE49-F238E27FC236}">
                <a16:creationId xmlns:a16="http://schemas.microsoft.com/office/drawing/2014/main" id="{42C6755C-23F8-A01A-1F7E-97148B3B1C7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79493" y="3415873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90" name="Text Placeholder 36">
            <a:extLst>
              <a:ext uri="{FF2B5EF4-FFF2-40B4-BE49-F238E27FC236}">
                <a16:creationId xmlns:a16="http://schemas.microsoft.com/office/drawing/2014/main" id="{7B044668-C7FD-7F7C-3E7D-48E64254FD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56108" y="3415873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91" name="Text Placeholder 36">
            <a:extLst>
              <a:ext uri="{FF2B5EF4-FFF2-40B4-BE49-F238E27FC236}">
                <a16:creationId xmlns:a16="http://schemas.microsoft.com/office/drawing/2014/main" id="{37194E64-9BE3-EB8E-0103-E293D3E6092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32723" y="3415873"/>
            <a:ext cx="1508196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23CACE-06C8-206F-A32F-1ED0DE64ECAB}"/>
              </a:ext>
            </a:extLst>
          </p:cNvPr>
          <p:cNvSpPr txBox="1">
            <a:spLocks/>
          </p:cNvSpPr>
          <p:nvPr userDrawn="1"/>
        </p:nvSpPr>
        <p:spPr>
          <a:xfrm>
            <a:off x="957600" y="348810"/>
            <a:ext cx="4808526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2400" dirty="0">
                <a:latin typeface="+mj-lt"/>
              </a:rPr>
              <a:t>SOMMAIR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74C5E84-6412-7D1C-53A0-870F3B77C5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fr-FR" sz="800" smtClean="0"/>
            </a:lvl1pPr>
          </a:lstStyle>
          <a:p>
            <a:pPr algn="r"/>
            <a:fld id="{321D17D0-918A-8748-9D3D-EDB51F099100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112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9CD6494-0438-11C2-E4FD-B36CD5BA6B8F}"/>
              </a:ext>
            </a:extLst>
          </p:cNvPr>
          <p:cNvSpPr/>
          <p:nvPr userDrawn="1"/>
        </p:nvSpPr>
        <p:spPr>
          <a:xfrm>
            <a:off x="-4247" y="2181499"/>
            <a:ext cx="9152495" cy="2962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ADE3203-1003-0B04-5A2E-1928617F7B12}"/>
              </a:ext>
            </a:extLst>
          </p:cNvPr>
          <p:cNvSpPr/>
          <p:nvPr userDrawn="1"/>
        </p:nvSpPr>
        <p:spPr>
          <a:xfrm>
            <a:off x="1383953" y="215087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AC9790A-3E3C-4637-FE0F-8D21E23DD9D7}"/>
              </a:ext>
            </a:extLst>
          </p:cNvPr>
          <p:cNvSpPr/>
          <p:nvPr userDrawn="1"/>
        </p:nvSpPr>
        <p:spPr>
          <a:xfrm>
            <a:off x="4301999" y="215087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CCE7394-6AA1-32AC-2B93-3B017D75A66A}"/>
              </a:ext>
            </a:extLst>
          </p:cNvPr>
          <p:cNvSpPr/>
          <p:nvPr userDrawn="1"/>
        </p:nvSpPr>
        <p:spPr>
          <a:xfrm>
            <a:off x="7220046" y="2150875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E502139-6695-C1E5-5F03-1807BE9275BA}"/>
              </a:ext>
            </a:extLst>
          </p:cNvPr>
          <p:cNvCxnSpPr>
            <a:cxnSpLocks/>
          </p:cNvCxnSpPr>
          <p:nvPr userDrawn="1"/>
        </p:nvCxnSpPr>
        <p:spPr>
          <a:xfrm>
            <a:off x="6031024" y="2440375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18855C5-443E-8942-B6F8-E311796DCDEA}"/>
              </a:ext>
            </a:extLst>
          </p:cNvPr>
          <p:cNvCxnSpPr>
            <a:cxnSpLocks/>
          </p:cNvCxnSpPr>
          <p:nvPr userDrawn="1"/>
        </p:nvCxnSpPr>
        <p:spPr>
          <a:xfrm>
            <a:off x="3112977" y="2440375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7">
            <a:extLst>
              <a:ext uri="{FF2B5EF4-FFF2-40B4-BE49-F238E27FC236}">
                <a16:creationId xmlns:a16="http://schemas.microsoft.com/office/drawing/2014/main" id="{A59E1172-B87C-362D-6251-AF49C0110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8" name="Graphic 76">
            <a:extLst>
              <a:ext uri="{FF2B5EF4-FFF2-40B4-BE49-F238E27FC236}">
                <a16:creationId xmlns:a16="http://schemas.microsoft.com/office/drawing/2014/main" id="{1B9ADE9E-642F-C5E1-A388-654D3BAF65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74F0AD-AC6C-A751-2B03-13DA38920C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BED0B0-4448-73D2-4EB7-6264326E4B9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C7712A73-DB44-485B-B92E-24B155D742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3569" y="1848610"/>
            <a:ext cx="182076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F3DE1F67-A081-3982-C4CE-72EF2A3D9C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61615" y="1848610"/>
            <a:ext cx="182076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5306F4D8-A394-C3FD-235F-E1914158E0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9662" y="1848610"/>
            <a:ext cx="182076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45" name="Text Placeholder 36">
            <a:extLst>
              <a:ext uri="{FF2B5EF4-FFF2-40B4-BE49-F238E27FC236}">
                <a16:creationId xmlns:a16="http://schemas.microsoft.com/office/drawing/2014/main" id="{8AAF928C-015E-C700-5F4B-E1B24546BF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097" y="244037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537A7C79-D3F1-0F86-A30B-FDBCA6224F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64144" y="244037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803A6FD2-7662-39D8-7933-6D2B33C5DE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2190" y="244037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34244A7-030A-D6C2-D07C-DDA2446EF7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FA0F3285-AAC5-3845-AF7F-2D775D528AB1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39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5DB3662-D829-A949-4F7D-4F9EEFF88647}"/>
              </a:ext>
            </a:extLst>
          </p:cNvPr>
          <p:cNvSpPr/>
          <p:nvPr userDrawn="1"/>
        </p:nvSpPr>
        <p:spPr>
          <a:xfrm>
            <a:off x="-8495" y="2305028"/>
            <a:ext cx="9152495" cy="28384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BC72C7-A2FB-7F22-EDF8-76ED5CF5CAF0}"/>
              </a:ext>
            </a:extLst>
          </p:cNvPr>
          <p:cNvSpPr/>
          <p:nvPr userDrawn="1"/>
        </p:nvSpPr>
        <p:spPr>
          <a:xfrm>
            <a:off x="-4247" y="1742645"/>
            <a:ext cx="9152495" cy="562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5B2333-35ED-4212-3A3C-79FEC70C8C3D}"/>
              </a:ext>
            </a:extLst>
          </p:cNvPr>
          <p:cNvSpPr/>
          <p:nvPr userDrawn="1"/>
        </p:nvSpPr>
        <p:spPr>
          <a:xfrm>
            <a:off x="2327495" y="1708776"/>
            <a:ext cx="540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59934C-5CBA-19E4-06BB-E78FDC0AF7A0}"/>
              </a:ext>
            </a:extLst>
          </p:cNvPr>
          <p:cNvSpPr/>
          <p:nvPr userDrawn="1"/>
        </p:nvSpPr>
        <p:spPr>
          <a:xfrm>
            <a:off x="6276506" y="1708776"/>
            <a:ext cx="540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5E30D99-E157-C15E-5929-BE23946FDF19}"/>
              </a:ext>
            </a:extLst>
          </p:cNvPr>
          <p:cNvCxnSpPr>
            <a:cxnSpLocks/>
          </p:cNvCxnSpPr>
          <p:nvPr userDrawn="1"/>
        </p:nvCxnSpPr>
        <p:spPr>
          <a:xfrm>
            <a:off x="4572000" y="2526584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7">
            <a:extLst>
              <a:ext uri="{FF2B5EF4-FFF2-40B4-BE49-F238E27FC236}">
                <a16:creationId xmlns:a16="http://schemas.microsoft.com/office/drawing/2014/main" id="{A59E1172-B87C-362D-6251-AF49C0110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8" name="Graphic 76">
            <a:extLst>
              <a:ext uri="{FF2B5EF4-FFF2-40B4-BE49-F238E27FC236}">
                <a16:creationId xmlns:a16="http://schemas.microsoft.com/office/drawing/2014/main" id="{1B9ADE9E-642F-C5E1-A388-654D3BAF65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74F0AD-AC6C-A751-2B03-13DA38920C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BED0B0-4448-73D2-4EB7-6264326E4B9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C982A010-10FD-41B3-4851-501C95EE20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32897" y="1967503"/>
            <a:ext cx="2329198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C3A3B8C4-A5F0-A2E2-B459-910B71D7B4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1908" y="1967503"/>
            <a:ext cx="2329198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E385444E-79C7-18CA-2EEE-104F0B3A72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599" y="2526584"/>
            <a:ext cx="3279792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CD9AB83E-A83F-EE4F-B921-6734442C8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06610" y="2526584"/>
            <a:ext cx="3279792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0EC941-2FCF-87EF-3235-5815C4B38C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3F9683A9-BC93-1642-912B-174E2D9CAE06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9004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5DB3662-D829-A949-4F7D-4F9EEFF88647}"/>
              </a:ext>
            </a:extLst>
          </p:cNvPr>
          <p:cNvSpPr/>
          <p:nvPr userDrawn="1"/>
        </p:nvSpPr>
        <p:spPr>
          <a:xfrm>
            <a:off x="-8495" y="2305028"/>
            <a:ext cx="9152495" cy="28384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BC72C7-A2FB-7F22-EDF8-76ED5CF5CAF0}"/>
              </a:ext>
            </a:extLst>
          </p:cNvPr>
          <p:cNvSpPr/>
          <p:nvPr userDrawn="1"/>
        </p:nvSpPr>
        <p:spPr>
          <a:xfrm>
            <a:off x="-4247" y="1742645"/>
            <a:ext cx="9152495" cy="562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5B2333-35ED-4212-3A3C-79FEC70C8C3D}"/>
              </a:ext>
            </a:extLst>
          </p:cNvPr>
          <p:cNvSpPr/>
          <p:nvPr userDrawn="1"/>
        </p:nvSpPr>
        <p:spPr>
          <a:xfrm>
            <a:off x="1383953" y="1708776"/>
            <a:ext cx="540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59934C-5CBA-19E4-06BB-E78FDC0AF7A0}"/>
              </a:ext>
            </a:extLst>
          </p:cNvPr>
          <p:cNvSpPr/>
          <p:nvPr userDrawn="1"/>
        </p:nvSpPr>
        <p:spPr>
          <a:xfrm>
            <a:off x="4301999" y="1708776"/>
            <a:ext cx="540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AED5D9-4B43-F0A2-49D1-EE43B4C29396}"/>
              </a:ext>
            </a:extLst>
          </p:cNvPr>
          <p:cNvSpPr/>
          <p:nvPr userDrawn="1"/>
        </p:nvSpPr>
        <p:spPr>
          <a:xfrm>
            <a:off x="7220046" y="1708776"/>
            <a:ext cx="540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9D695A5-5F26-B5D0-9B4A-9BB591F0CF1A}"/>
              </a:ext>
            </a:extLst>
          </p:cNvPr>
          <p:cNvCxnSpPr>
            <a:cxnSpLocks/>
          </p:cNvCxnSpPr>
          <p:nvPr userDrawn="1"/>
        </p:nvCxnSpPr>
        <p:spPr>
          <a:xfrm>
            <a:off x="6031024" y="2526584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5E30D99-E157-C15E-5929-BE23946FDF19}"/>
              </a:ext>
            </a:extLst>
          </p:cNvPr>
          <p:cNvCxnSpPr>
            <a:cxnSpLocks/>
          </p:cNvCxnSpPr>
          <p:nvPr userDrawn="1"/>
        </p:nvCxnSpPr>
        <p:spPr>
          <a:xfrm>
            <a:off x="3112977" y="2526584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7">
            <a:extLst>
              <a:ext uri="{FF2B5EF4-FFF2-40B4-BE49-F238E27FC236}">
                <a16:creationId xmlns:a16="http://schemas.microsoft.com/office/drawing/2014/main" id="{A59E1172-B87C-362D-6251-AF49C0110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7386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pic>
        <p:nvPicPr>
          <p:cNvPr id="8" name="Graphic 76">
            <a:extLst>
              <a:ext uri="{FF2B5EF4-FFF2-40B4-BE49-F238E27FC236}">
                <a16:creationId xmlns:a16="http://schemas.microsoft.com/office/drawing/2014/main" id="{1B9ADE9E-642F-C5E1-A388-654D3BAF65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74F0AD-AC6C-A751-2B03-13DA38920C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BED0B0-4448-73D2-4EB7-6264326E4B9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C982A010-10FD-41B3-4851-501C95EE20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3569" y="1967503"/>
            <a:ext cx="182076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C3A3B8C4-A5F0-A2E2-B459-910B71D7B4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61615" y="1967503"/>
            <a:ext cx="182076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84250758-6C00-7EA2-65F8-C5E20E3E1A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9662" y="1967503"/>
            <a:ext cx="1820769" cy="18466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bg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E385444E-79C7-18CA-2EEE-104F0B3A72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097" y="252658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CD9AB83E-A83F-EE4F-B921-6734442C8F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64143" y="252658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D499E2F5-E04B-87DC-79B4-0A66C7C6257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2190" y="252658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F1151-F3EB-F62F-74D3-6CAF12F3A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27CA0A8D-21C7-7A48-B23D-B10A455D1723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5404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BE6F0E3-D86B-3BAF-8ED9-9F0E0A0F5882}"/>
              </a:ext>
            </a:extLst>
          </p:cNvPr>
          <p:cNvSpPr/>
          <p:nvPr userDrawn="1"/>
        </p:nvSpPr>
        <p:spPr>
          <a:xfrm>
            <a:off x="-8495" y="1532084"/>
            <a:ext cx="9152495" cy="24676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1A75889-9764-AD4D-978F-705E3F847175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742545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EEB168-2E41-FF15-F950-A421104976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5" name="Title 17">
            <a:extLst>
              <a:ext uri="{FF2B5EF4-FFF2-40B4-BE49-F238E27FC236}">
                <a16:creationId xmlns:a16="http://schemas.microsoft.com/office/drawing/2014/main" id="{F3BBA6F1-6F96-2DEE-5E66-EFF24346BC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7" name="Graphic 76">
            <a:extLst>
              <a:ext uri="{FF2B5EF4-FFF2-40B4-BE49-F238E27FC236}">
                <a16:creationId xmlns:a16="http://schemas.microsoft.com/office/drawing/2014/main" id="{9B17807F-BC10-2CDF-14A4-3792078FF0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121E1B0-7517-7349-7CBB-F0B38E3526B5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1EBCEDC-1BFF-6464-63C6-95B1B283B1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7599" y="1742544"/>
            <a:ext cx="3279792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7FD36671-C0EB-4742-B0B5-205754256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6610" y="1742544"/>
            <a:ext cx="3279792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1909CAC5-AE60-85E3-D949-E51A955ED3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A60BA7AA-A373-574F-B901-4A821EBB7F52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5775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4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BE6F0E3-D86B-3BAF-8ED9-9F0E0A0F5882}"/>
              </a:ext>
            </a:extLst>
          </p:cNvPr>
          <p:cNvSpPr/>
          <p:nvPr userDrawn="1"/>
        </p:nvSpPr>
        <p:spPr>
          <a:xfrm>
            <a:off x="-8495" y="1532084"/>
            <a:ext cx="9152495" cy="24676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2800" indent="-171450" algn="ctr">
              <a:buFont typeface="Wingdings" panose="05000000000000000000" pitchFamily="2" charset="2"/>
              <a:buChar char="§"/>
            </a:pPr>
            <a:endParaRPr lang="fr-FR" sz="1200" noProof="1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49D1F5B-862B-119E-C623-CA27CF4D1652}"/>
              </a:ext>
            </a:extLst>
          </p:cNvPr>
          <p:cNvCxnSpPr>
            <a:cxnSpLocks/>
          </p:cNvCxnSpPr>
          <p:nvPr userDrawn="1"/>
        </p:nvCxnSpPr>
        <p:spPr>
          <a:xfrm>
            <a:off x="6031024" y="1742545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1A75889-9764-AD4D-978F-705E3F847175}"/>
              </a:ext>
            </a:extLst>
          </p:cNvPr>
          <p:cNvCxnSpPr>
            <a:cxnSpLocks/>
          </p:cNvCxnSpPr>
          <p:nvPr userDrawn="1"/>
        </p:nvCxnSpPr>
        <p:spPr>
          <a:xfrm>
            <a:off x="3112977" y="1742545"/>
            <a:ext cx="0" cy="20467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EEB168-2E41-FF15-F950-A421104976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5" name="Title 17">
            <a:extLst>
              <a:ext uri="{FF2B5EF4-FFF2-40B4-BE49-F238E27FC236}">
                <a16:creationId xmlns:a16="http://schemas.microsoft.com/office/drawing/2014/main" id="{F3BBA6F1-6F96-2DEE-5E66-EFF24346BC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7" name="Graphic 76">
            <a:extLst>
              <a:ext uri="{FF2B5EF4-FFF2-40B4-BE49-F238E27FC236}">
                <a16:creationId xmlns:a16="http://schemas.microsoft.com/office/drawing/2014/main" id="{9B17807F-BC10-2CDF-14A4-3792078FF0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121E1B0-7517-7349-7CBB-F0B38E3526B5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91EBCEDC-1BFF-6464-63C6-95B1B283B1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097" y="174254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7FD36671-C0EB-4742-B0B5-205754256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4143" y="174254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4AB5FBA2-422D-FC6F-307D-E7B9436BA1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2190" y="1742544"/>
            <a:ext cx="2415713" cy="2046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214858E-11AF-3D78-FDD3-209014040D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DAEAACEB-CF74-F44B-94A1-07C1CC9145F4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6083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FE193B-FC63-2960-98E8-F0ADD15C6123}"/>
              </a:ext>
            </a:extLst>
          </p:cNvPr>
          <p:cNvSpPr/>
          <p:nvPr userDrawn="1"/>
        </p:nvSpPr>
        <p:spPr>
          <a:xfrm>
            <a:off x="0" y="3373821"/>
            <a:ext cx="9144000" cy="1769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2F31500-A7BE-0C84-0BD3-7B4B10CEC8FE}"/>
              </a:ext>
            </a:extLst>
          </p:cNvPr>
          <p:cNvSpPr/>
          <p:nvPr userDrawn="1"/>
        </p:nvSpPr>
        <p:spPr>
          <a:xfrm>
            <a:off x="4280897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FBD09E7F-F20E-11B3-B09E-B0B9E3033E4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79697" y="1367778"/>
            <a:ext cx="1742400" cy="1742400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140E3448-AE5B-9520-2E88-8117D3C047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03693" y="3622618"/>
            <a:ext cx="2294409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5E6A715-F74A-5627-216F-E9E1BDD091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856EB3BF-A50D-7141-BEB3-4D5A5C1EB673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773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6DBEC875-C061-F1D8-D16F-77B4B532313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225896" y="1367778"/>
            <a:ext cx="1742400" cy="1742400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7D1B4D0B-57F4-E9D9-9364-5C76F27EC4C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175704" y="1367778"/>
            <a:ext cx="1742400" cy="1742400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FE193B-FC63-2960-98E8-F0ADD15C6123}"/>
              </a:ext>
            </a:extLst>
          </p:cNvPr>
          <p:cNvSpPr/>
          <p:nvPr userDrawn="1"/>
        </p:nvSpPr>
        <p:spPr>
          <a:xfrm>
            <a:off x="0" y="3373821"/>
            <a:ext cx="9144000" cy="1769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93DE63-BA27-08BB-952E-832126E6CD22}"/>
              </a:ext>
            </a:extLst>
          </p:cNvPr>
          <p:cNvSpPr/>
          <p:nvPr/>
        </p:nvSpPr>
        <p:spPr>
          <a:xfrm>
            <a:off x="2826526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CDBFAE-7794-14B7-EBC1-C0C6AF051B98}"/>
              </a:ext>
            </a:extLst>
          </p:cNvPr>
          <p:cNvSpPr/>
          <p:nvPr/>
        </p:nvSpPr>
        <p:spPr>
          <a:xfrm>
            <a:off x="5777474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EDBDB2AF-1110-1CCD-D19A-E3B2EED177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49322" y="3622618"/>
            <a:ext cx="2294409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E8A3782F-0B6E-4361-8725-53AA4CE1F5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00270" y="3622618"/>
            <a:ext cx="2294409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375C772-7D3C-79AE-7EE6-0070FF78D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2AD09684-EBCA-234F-A3A2-FBCDF08679B2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9922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FE193B-FC63-2960-98E8-F0ADD15C6123}"/>
              </a:ext>
            </a:extLst>
          </p:cNvPr>
          <p:cNvSpPr/>
          <p:nvPr userDrawn="1"/>
        </p:nvSpPr>
        <p:spPr>
          <a:xfrm>
            <a:off x="0" y="3373821"/>
            <a:ext cx="9144000" cy="1769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E45485-31FE-CDCA-D34D-0532B820B98B}"/>
              </a:ext>
            </a:extLst>
          </p:cNvPr>
          <p:cNvSpPr/>
          <p:nvPr/>
        </p:nvSpPr>
        <p:spPr>
          <a:xfrm>
            <a:off x="1329949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A74EDE-4335-E551-01DC-507014F2F626}"/>
              </a:ext>
            </a:extLst>
          </p:cNvPr>
          <p:cNvSpPr/>
          <p:nvPr/>
        </p:nvSpPr>
        <p:spPr>
          <a:xfrm>
            <a:off x="4280897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14A66B-7033-E1E8-4923-9A64DD7DDB1E}"/>
              </a:ext>
            </a:extLst>
          </p:cNvPr>
          <p:cNvSpPr/>
          <p:nvPr/>
        </p:nvSpPr>
        <p:spPr>
          <a:xfrm>
            <a:off x="7231845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111E69CA-8F75-A732-D16D-9B3C138053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28749" y="1367778"/>
            <a:ext cx="1742400" cy="1742400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B405FC40-B6A0-EBAA-5662-535D74B46C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79697" y="1367778"/>
            <a:ext cx="1742400" cy="1742400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E384E736-E846-7F02-A412-6909987BC0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30645" y="1367778"/>
            <a:ext cx="1742400" cy="1742400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0D3E470D-2C39-0C82-D8AB-6EC7D9548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745" y="3622618"/>
            <a:ext cx="2294409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0CA55DCE-6E3E-951B-19A3-C173C2CEF8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03693" y="3622618"/>
            <a:ext cx="2294409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AA816DB2-27D6-18D1-0F92-02568A1C0D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4641" y="3622618"/>
            <a:ext cx="2294409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9F12F9F-DF8C-E44A-B3E0-148726F14E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1F15AD6E-0644-494A-AE05-3FD402C5A344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6782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4A6D9D9-B124-98C3-0DCA-40EE7112A98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3567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5A745A5-EC1C-8B26-FD71-A32EB645BCC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58668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18C27E29-7F17-FFC7-D3CB-505E2BD120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03769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D43E23F4-492D-3491-8E81-B8FE82F494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48870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FE193B-FC63-2960-98E8-F0ADD15C6123}"/>
              </a:ext>
            </a:extLst>
          </p:cNvPr>
          <p:cNvSpPr/>
          <p:nvPr userDrawn="1"/>
        </p:nvSpPr>
        <p:spPr>
          <a:xfrm>
            <a:off x="0" y="3373821"/>
            <a:ext cx="9144000" cy="1769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B618FA-676E-A039-1B1A-61E5E6988E52}"/>
              </a:ext>
            </a:extLst>
          </p:cNvPr>
          <p:cNvSpPr/>
          <p:nvPr/>
        </p:nvSpPr>
        <p:spPr>
          <a:xfrm>
            <a:off x="913245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9996E1-5E81-3CB9-6F11-898622F90535}"/>
              </a:ext>
            </a:extLst>
          </p:cNvPr>
          <p:cNvSpPr/>
          <p:nvPr/>
        </p:nvSpPr>
        <p:spPr>
          <a:xfrm>
            <a:off x="3158346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17DA1A-F229-1F1E-5C5D-C14140D59ECA}"/>
              </a:ext>
            </a:extLst>
          </p:cNvPr>
          <p:cNvSpPr/>
          <p:nvPr/>
        </p:nvSpPr>
        <p:spPr>
          <a:xfrm>
            <a:off x="5403447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D20EE3C-01B3-633C-EB18-7CAA1BC5C28B}"/>
              </a:ext>
            </a:extLst>
          </p:cNvPr>
          <p:cNvSpPr/>
          <p:nvPr/>
        </p:nvSpPr>
        <p:spPr>
          <a:xfrm>
            <a:off x="7648548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C15C7B04-BD15-A9AF-C7CD-A12CE3B697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2745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E99F5CBD-D409-3C0A-0590-4204B39884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8048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27" name="Text Placeholder 36">
            <a:extLst>
              <a:ext uri="{FF2B5EF4-FFF2-40B4-BE49-F238E27FC236}">
                <a16:creationId xmlns:a16="http://schemas.microsoft.com/office/drawing/2014/main" id="{7C6DCED1-B3B6-FAB8-8D4F-674F51F405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7846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BCEE47F3-B2C1-7C4D-898F-7CC695FED3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42947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8FB1886-507A-5966-8670-14E9E7ACD8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502C78F2-51F3-A04F-BEB8-02310688E95E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9828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FE193B-FC63-2960-98E8-F0ADD15C6123}"/>
              </a:ext>
            </a:extLst>
          </p:cNvPr>
          <p:cNvSpPr/>
          <p:nvPr userDrawn="1"/>
        </p:nvSpPr>
        <p:spPr>
          <a:xfrm>
            <a:off x="0" y="3373821"/>
            <a:ext cx="9144000" cy="1769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A4D22647-7B33-FE84-CFE6-0A47085A8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7" name="Title 17">
            <a:extLst>
              <a:ext uri="{FF2B5EF4-FFF2-40B4-BE49-F238E27FC236}">
                <a16:creationId xmlns:a16="http://schemas.microsoft.com/office/drawing/2014/main" id="{BEC14FF0-50E3-86C4-50E8-B373A93E9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38" name="Graphic 76">
            <a:extLst>
              <a:ext uri="{FF2B5EF4-FFF2-40B4-BE49-F238E27FC236}">
                <a16:creationId xmlns:a16="http://schemas.microsoft.com/office/drawing/2014/main" id="{3DBEC2C9-009E-3B49-3EB2-C9E82CCBB1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DE220F7-A251-AF7C-4427-C5B16FA121A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E9530500-8216-FBD2-A821-4C08159A3F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8B067A7A-44BD-B5B1-1B6A-3AE96D659CA9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64E7777-F687-9BD0-1389-7E8B24AD5B98}"/>
              </a:ext>
            </a:extLst>
          </p:cNvPr>
          <p:cNvSpPr/>
          <p:nvPr/>
        </p:nvSpPr>
        <p:spPr>
          <a:xfrm>
            <a:off x="913245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5850D9-2557-ACEE-2BED-68FD54F635D8}"/>
              </a:ext>
            </a:extLst>
          </p:cNvPr>
          <p:cNvSpPr/>
          <p:nvPr/>
        </p:nvSpPr>
        <p:spPr>
          <a:xfrm>
            <a:off x="2597071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351D48-9468-B146-9222-6EDD3A8084D5}"/>
              </a:ext>
            </a:extLst>
          </p:cNvPr>
          <p:cNvSpPr/>
          <p:nvPr/>
        </p:nvSpPr>
        <p:spPr>
          <a:xfrm>
            <a:off x="4280897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6797D7E-408B-B227-29C8-15A494AEF72F}"/>
              </a:ext>
            </a:extLst>
          </p:cNvPr>
          <p:cNvSpPr/>
          <p:nvPr/>
        </p:nvSpPr>
        <p:spPr>
          <a:xfrm>
            <a:off x="5964723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902CA6-ED94-C2EE-B002-6C99309EC079}"/>
              </a:ext>
            </a:extLst>
          </p:cNvPr>
          <p:cNvSpPr/>
          <p:nvPr/>
        </p:nvSpPr>
        <p:spPr>
          <a:xfrm>
            <a:off x="7648548" y="334495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5A026BA2-B383-7546-F8F2-DE251591E95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3567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98D4714D-3FFE-8376-22FE-DFACE0FDB7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97393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3421D054-B288-401D-9BE7-91D81D7032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81219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0F652A33-0499-DC5A-7D70-AF944C5C748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65045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4FAD51BF-A28D-E75E-0E83-1046FFB6EEB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48870" y="1769678"/>
            <a:ext cx="1339359" cy="133935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F7317F50-2951-D86A-EDCC-531DB96A63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2745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46" name="Text Placeholder 36">
            <a:extLst>
              <a:ext uri="{FF2B5EF4-FFF2-40B4-BE49-F238E27FC236}">
                <a16:creationId xmlns:a16="http://schemas.microsoft.com/office/drawing/2014/main" id="{BF7600EA-C32C-9080-6ED3-412DFAE9BD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36571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47" name="Text Placeholder 36">
            <a:extLst>
              <a:ext uri="{FF2B5EF4-FFF2-40B4-BE49-F238E27FC236}">
                <a16:creationId xmlns:a16="http://schemas.microsoft.com/office/drawing/2014/main" id="{E39E547B-8E94-846C-BACD-863FFDBA9F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20397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79549CF1-2905-7A8C-46A9-7ABBC88E2E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4223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40BA1BB3-FE06-404F-931D-0BEEBFFFB1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48" y="3622618"/>
            <a:ext cx="1461002" cy="430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NOM ET PRÉNOM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4F8D21E-4463-C85E-9577-9BA4CEFF84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673B15A7-BC15-E040-AF3F-8098900F571F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994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5252BF2-EBB4-AA9E-EAF6-70BC939DDA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7707" y="1384945"/>
            <a:ext cx="1356761" cy="64084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ACDBFCA-2046-D6C9-9277-9E5F02D1760F}"/>
              </a:ext>
            </a:extLst>
          </p:cNvPr>
          <p:cNvSpPr/>
          <p:nvPr userDrawn="1"/>
        </p:nvSpPr>
        <p:spPr>
          <a:xfrm>
            <a:off x="0" y="3079619"/>
            <a:ext cx="3571875" cy="206388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E0D7B12-D963-DDB7-EDB1-ABF7300B3C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0774" y="393034"/>
            <a:ext cx="3737400" cy="43574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7E0CEB75-2BBB-35B0-D159-09D04E353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8874" y="2466455"/>
            <a:ext cx="3654426" cy="18466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Ceci est le nom de la section</a:t>
            </a:r>
          </a:p>
        </p:txBody>
      </p:sp>
    </p:spTree>
    <p:extLst>
      <p:ext uri="{BB962C8B-B14F-4D97-AF65-F5344CB8AC3E}">
        <p14:creationId xmlns:p14="http://schemas.microsoft.com/office/powerpoint/2010/main" val="22795382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aphic 54">
            <a:extLst>
              <a:ext uri="{FF2B5EF4-FFF2-40B4-BE49-F238E27FC236}">
                <a16:creationId xmlns:a16="http://schemas.microsoft.com/office/drawing/2014/main" id="{4C6C788A-9C92-CAEE-F5EC-4D40A64BB0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8EA9CC03-47BB-8D60-5B85-9A16609A1E65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C507ED1-85C2-587B-8018-C461D58D96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" name="Title 17">
            <a:extLst>
              <a:ext uri="{FF2B5EF4-FFF2-40B4-BE49-F238E27FC236}">
                <a16:creationId xmlns:a16="http://schemas.microsoft.com/office/drawing/2014/main" id="{E89DCE20-F294-BE1A-9AED-F167A9562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4" name="Graphic 76">
            <a:extLst>
              <a:ext uri="{FF2B5EF4-FFF2-40B4-BE49-F238E27FC236}">
                <a16:creationId xmlns:a16="http://schemas.microsoft.com/office/drawing/2014/main" id="{86A933EE-9E35-B708-509A-1A04AE3FBA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DAC2278-81D3-A17F-F5B3-7858CEBBFC8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B13050-CB58-DD3C-AD66-819EB22256F2}"/>
              </a:ext>
            </a:extLst>
          </p:cNvPr>
          <p:cNvSpPr/>
          <p:nvPr userDrawn="1"/>
        </p:nvSpPr>
        <p:spPr>
          <a:xfrm>
            <a:off x="0" y="1416398"/>
            <a:ext cx="4463644" cy="2812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ACFA184-19F9-2CE0-2027-7A4C53A8A083}"/>
              </a:ext>
            </a:extLst>
          </p:cNvPr>
          <p:cNvSpPr/>
          <p:nvPr userDrawn="1"/>
        </p:nvSpPr>
        <p:spPr>
          <a:xfrm>
            <a:off x="4680356" y="1416398"/>
            <a:ext cx="4463644" cy="2812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0F71C73C-1F95-406C-4490-23808E0D6C8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0430" y="1750976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910F28E-B0AC-09E6-5C92-BE25488590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430" y="2356657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59BFE1-7777-E81C-50D7-EB041CFE84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40430" y="2962338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F2DB77B-DD8C-F2CB-4799-3312FC98EB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0430" y="3568018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2" name="Text Placeholder 36">
            <a:extLst>
              <a:ext uri="{FF2B5EF4-FFF2-40B4-BE49-F238E27FC236}">
                <a16:creationId xmlns:a16="http://schemas.microsoft.com/office/drawing/2014/main" id="{350370A1-857B-00E0-5549-14DB6E950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4524" y="1735054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6CE3D3FC-27C2-7C51-FDD1-A2116C861B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4524" y="193844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4B9A1263-5E6C-2117-8407-9A38CCD1C4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4524" y="3549680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DEB3F08A-7555-9900-98D4-81277540BB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4524" y="3768463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CC7A49BD-9AB8-C2AE-A3EE-A0BD34D244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4524" y="2959389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17" name="Text Placeholder 36">
            <a:extLst>
              <a:ext uri="{FF2B5EF4-FFF2-40B4-BE49-F238E27FC236}">
                <a16:creationId xmlns:a16="http://schemas.microsoft.com/office/drawing/2014/main" id="{B2F74EC9-5EAF-2AC5-BEC1-E7B4843E8C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4524" y="3147394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F39980FE-0000-60FA-C1F1-8D14DBED19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4524" y="2356123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92047935-91AE-23EE-C4CC-8AC64F3458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4524" y="254412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D883DC7C-47D5-ABB7-3CE8-91F187C49C5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017777" y="1750976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C0DD9CA8-6252-CEEC-2303-D3D50FE9CCE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017777" y="2356657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3956CC50-C987-A4D7-5FAC-F027784D38E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017777" y="2962338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0F056849-A8FE-FEF1-0E9E-82136CC3431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017777" y="3568018"/>
            <a:ext cx="325441" cy="325441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CB7E14DF-9C14-58AF-D01C-CA5EC14A4A8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1871" y="1735054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0A1D850C-4DCC-5813-A540-C447ED19FA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1871" y="193844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7112EBD5-653F-18D7-782B-D1582F7D344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1871" y="3549680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27" name="Text Placeholder 36">
            <a:extLst>
              <a:ext uri="{FF2B5EF4-FFF2-40B4-BE49-F238E27FC236}">
                <a16:creationId xmlns:a16="http://schemas.microsoft.com/office/drawing/2014/main" id="{CD7C46A3-5E62-6DA7-7B12-4C65ED9645C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01871" y="3768463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C16B457E-1495-ADAD-EF6B-901A522B82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1871" y="2959389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31580FA1-84F3-7F37-0441-3FCF47D93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01871" y="3147394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30" name="Text Placeholder 36">
            <a:extLst>
              <a:ext uri="{FF2B5EF4-FFF2-40B4-BE49-F238E27FC236}">
                <a16:creationId xmlns:a16="http://schemas.microsoft.com/office/drawing/2014/main" id="{E0A0E07D-ADAF-E6F4-488B-4C6CC1D2E7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01871" y="2356123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D36B2633-3A38-6E0E-C5B3-565C55071CF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01871" y="254412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32" name="Date Placeholder 3">
            <a:extLst>
              <a:ext uri="{FF2B5EF4-FFF2-40B4-BE49-F238E27FC236}">
                <a16:creationId xmlns:a16="http://schemas.microsoft.com/office/drawing/2014/main" id="{A9B78180-F848-E2D7-BB6E-50AE5C8A22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9220575F-F4CA-BD41-9786-6F66CB6E387E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0373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aphic 54">
            <a:extLst>
              <a:ext uri="{FF2B5EF4-FFF2-40B4-BE49-F238E27FC236}">
                <a16:creationId xmlns:a16="http://schemas.microsoft.com/office/drawing/2014/main" id="{4C6C788A-9C92-CAEE-F5EC-4D40A64BB0D7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8EA9CC03-47BB-8D60-5B85-9A16609A1E65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C507ED1-85C2-587B-8018-C461D58D96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" name="Title 17">
            <a:extLst>
              <a:ext uri="{FF2B5EF4-FFF2-40B4-BE49-F238E27FC236}">
                <a16:creationId xmlns:a16="http://schemas.microsoft.com/office/drawing/2014/main" id="{E89DCE20-F294-BE1A-9AED-F167A9562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4" name="Graphic 76">
            <a:extLst>
              <a:ext uri="{FF2B5EF4-FFF2-40B4-BE49-F238E27FC236}">
                <a16:creationId xmlns:a16="http://schemas.microsoft.com/office/drawing/2014/main" id="{86A933EE-9E35-B708-509A-1A04AE3FBA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DAC2278-81D3-A17F-F5B3-7858CEBBFC8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9BADFD-486D-1F88-9930-EBC39BEB3027}"/>
              </a:ext>
            </a:extLst>
          </p:cNvPr>
          <p:cNvSpPr/>
          <p:nvPr userDrawn="1"/>
        </p:nvSpPr>
        <p:spPr>
          <a:xfrm>
            <a:off x="0" y="1416398"/>
            <a:ext cx="4463644" cy="2812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5EF2EE3-F958-2A17-0296-455E88CDE448}"/>
              </a:ext>
            </a:extLst>
          </p:cNvPr>
          <p:cNvSpPr/>
          <p:nvPr userDrawn="1"/>
        </p:nvSpPr>
        <p:spPr>
          <a:xfrm>
            <a:off x="4680356" y="1416398"/>
            <a:ext cx="4463644" cy="2812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4" name="Text Placeholder 36">
            <a:extLst>
              <a:ext uri="{FF2B5EF4-FFF2-40B4-BE49-F238E27FC236}">
                <a16:creationId xmlns:a16="http://schemas.microsoft.com/office/drawing/2014/main" id="{9437FDF5-D0E1-9BA4-C2BD-37AF97039C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477" y="1735054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35" name="Text Placeholder 36">
            <a:extLst>
              <a:ext uri="{FF2B5EF4-FFF2-40B4-BE49-F238E27FC236}">
                <a16:creationId xmlns:a16="http://schemas.microsoft.com/office/drawing/2014/main" id="{B5FDFDF6-BADD-42E8-406F-902283B8F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2477" y="193844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36" name="Text Placeholder 36">
            <a:extLst>
              <a:ext uri="{FF2B5EF4-FFF2-40B4-BE49-F238E27FC236}">
                <a16:creationId xmlns:a16="http://schemas.microsoft.com/office/drawing/2014/main" id="{DEE9DD8A-5EEA-3211-78C7-EE22DF2414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2477" y="3549680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BC1CFD38-E26A-4E38-7FD6-4154A68D34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2477" y="3768463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38" name="Text Placeholder 36">
            <a:extLst>
              <a:ext uri="{FF2B5EF4-FFF2-40B4-BE49-F238E27FC236}">
                <a16:creationId xmlns:a16="http://schemas.microsoft.com/office/drawing/2014/main" id="{5B7CB2D3-5B3B-4201-78CF-A5E2FDEB50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2477" y="2959389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D15ABA6A-A9AE-C4E4-A47E-DB2EC1D558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2477" y="3147394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7B0A8C6B-FA1C-A4D9-DA59-0350737EE1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2477" y="2356123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AC6970EF-1D7A-0046-0EB9-90C99449DE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2477" y="254412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42" name="Text Placeholder 36">
            <a:extLst>
              <a:ext uri="{FF2B5EF4-FFF2-40B4-BE49-F238E27FC236}">
                <a16:creationId xmlns:a16="http://schemas.microsoft.com/office/drawing/2014/main" id="{7531D5C0-FF96-BCF4-6271-DA3816885A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62828" y="1735054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9F21ABAF-052D-8953-5971-AEA6A287EA3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62828" y="193844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EF4C8E5D-72AC-6A52-7E5D-A46A0B628A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62828" y="3549680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45" name="Text Placeholder 36">
            <a:extLst>
              <a:ext uri="{FF2B5EF4-FFF2-40B4-BE49-F238E27FC236}">
                <a16:creationId xmlns:a16="http://schemas.microsoft.com/office/drawing/2014/main" id="{E650E343-5023-8052-C72F-3325C2CFBB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62828" y="3768463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46" name="Text Placeholder 36">
            <a:extLst>
              <a:ext uri="{FF2B5EF4-FFF2-40B4-BE49-F238E27FC236}">
                <a16:creationId xmlns:a16="http://schemas.microsoft.com/office/drawing/2014/main" id="{86DBB3AE-350C-CDA4-5FA0-86838D01EE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62828" y="2959389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47" name="Text Placeholder 36">
            <a:extLst>
              <a:ext uri="{FF2B5EF4-FFF2-40B4-BE49-F238E27FC236}">
                <a16:creationId xmlns:a16="http://schemas.microsoft.com/office/drawing/2014/main" id="{0E419E67-8401-7B39-02D1-6CAE0DAC52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62828" y="3147394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48" name="Text Placeholder 36">
            <a:extLst>
              <a:ext uri="{FF2B5EF4-FFF2-40B4-BE49-F238E27FC236}">
                <a16:creationId xmlns:a16="http://schemas.microsoft.com/office/drawing/2014/main" id="{A8913330-667E-DC63-64B5-A3F7BFCF0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62828" y="2356123"/>
            <a:ext cx="3298692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paragraphe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437A95A2-C271-63E9-9C4D-B6DA973FD2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62828" y="2544128"/>
            <a:ext cx="3298692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44EA9234-95D5-ACE8-4A01-96E74DC8CC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FAE0881B-C15C-2941-A71C-0D18C0251020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2239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aphic 54">
            <a:extLst>
              <a:ext uri="{FF2B5EF4-FFF2-40B4-BE49-F238E27FC236}">
                <a16:creationId xmlns:a16="http://schemas.microsoft.com/office/drawing/2014/main" id="{4C6C788A-9C92-CAEE-F5EC-4D40A64BB0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8EA9CC03-47BB-8D60-5B85-9A16609A1E65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C507ED1-85C2-587B-8018-C461D58D96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3" name="Title 17">
            <a:extLst>
              <a:ext uri="{FF2B5EF4-FFF2-40B4-BE49-F238E27FC236}">
                <a16:creationId xmlns:a16="http://schemas.microsoft.com/office/drawing/2014/main" id="{E89DCE20-F294-BE1A-9AED-F167A9562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4" name="Graphic 76">
            <a:extLst>
              <a:ext uri="{FF2B5EF4-FFF2-40B4-BE49-F238E27FC236}">
                <a16:creationId xmlns:a16="http://schemas.microsoft.com/office/drawing/2014/main" id="{86A933EE-9E35-B708-509A-1A04AE3FBA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DAC2278-81D3-A17F-F5B3-7858CEBBFC89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E56F5FBE-BFD5-ECF3-9395-25F1F58D4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7600" y="1530586"/>
            <a:ext cx="4064566" cy="311623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3" name="Text Placeholder 36">
            <a:extLst>
              <a:ext uri="{FF2B5EF4-FFF2-40B4-BE49-F238E27FC236}">
                <a16:creationId xmlns:a16="http://schemas.microsoft.com/office/drawing/2014/main" id="{DE87055A-692C-A674-CF7B-F40B73906F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260554"/>
            <a:ext cx="4064566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34" name="Chart Placeholder 16">
            <a:extLst>
              <a:ext uri="{FF2B5EF4-FFF2-40B4-BE49-F238E27FC236}">
                <a16:creationId xmlns:a16="http://schemas.microsoft.com/office/drawing/2014/main" id="{C5887E49-B7A9-775A-0003-036F88EA84BB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5423097" y="1260554"/>
            <a:ext cx="3355812" cy="3386269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graphiqu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F585B77-0E11-FEF5-5AF1-D6C8F7EC1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7126457D-4C12-DD4D-95A1-91751193232A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3193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8F72D197-4856-A732-262B-0FBA74FD44B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58841" y="2"/>
            <a:ext cx="3185160" cy="5143498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6E3BC8-1244-EA97-0E27-F079235CEA2D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8" name="Title 17">
            <a:extLst>
              <a:ext uri="{FF2B5EF4-FFF2-40B4-BE49-F238E27FC236}">
                <a16:creationId xmlns:a16="http://schemas.microsoft.com/office/drawing/2014/main" id="{B99C09ED-43F9-1C35-C80D-66BADC56A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600" y="349200"/>
            <a:ext cx="4767878" cy="73866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 SUR 2 LIGN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9AA5A19-9EE5-591D-6B95-65A075130B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4768156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10" name="Chart Placeholder 16">
            <a:extLst>
              <a:ext uri="{FF2B5EF4-FFF2-40B4-BE49-F238E27FC236}">
                <a16:creationId xmlns:a16="http://schemas.microsoft.com/office/drawing/2014/main" id="{AAB20A99-EA45-CBB1-0C13-7D056373EE49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957600" y="1964118"/>
            <a:ext cx="3752150" cy="290888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graphique</a:t>
            </a:r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770C2B75-C448-6A51-6379-AB54BC9446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7600" y="1563479"/>
            <a:ext cx="37043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Graphique</a:t>
            </a:r>
          </a:p>
        </p:txBody>
      </p:sp>
      <p:sp>
        <p:nvSpPr>
          <p:cNvPr id="13" name="Slide Number Placeholder 20">
            <a:extLst>
              <a:ext uri="{FF2B5EF4-FFF2-40B4-BE49-F238E27FC236}">
                <a16:creationId xmlns:a16="http://schemas.microsoft.com/office/drawing/2014/main" id="{CF5C3CEE-63FE-E83D-86C6-B7D4034C2F1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8645450" y="4729833"/>
            <a:ext cx="498551" cy="286342"/>
          </a:xfrm>
          <a:custGeom>
            <a:avLst/>
            <a:gdLst>
              <a:gd name="connsiteX0" fmla="*/ 0 w 498551"/>
              <a:gd name="connsiteY0" fmla="*/ 0 h 286342"/>
              <a:gd name="connsiteX1" fmla="*/ 413691 w 498551"/>
              <a:gd name="connsiteY1" fmla="*/ 0 h 286342"/>
              <a:gd name="connsiteX2" fmla="*/ 498551 w 498551"/>
              <a:gd name="connsiteY2" fmla="*/ 45735 h 286342"/>
              <a:gd name="connsiteX3" fmla="*/ 498551 w 498551"/>
              <a:gd name="connsiteY3" fmla="*/ 286342 h 286342"/>
              <a:gd name="connsiteX4" fmla="*/ 141433 w 498551"/>
              <a:gd name="connsiteY4" fmla="*/ 286342 h 286342"/>
              <a:gd name="connsiteX5" fmla="*/ 0 w 498551"/>
              <a:gd name="connsiteY5" fmla="*/ 206803 h 286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8551" h="286342">
                <a:moveTo>
                  <a:pt x="0" y="0"/>
                </a:moveTo>
                <a:lnTo>
                  <a:pt x="413691" y="0"/>
                </a:lnTo>
                <a:lnTo>
                  <a:pt x="498551" y="45735"/>
                </a:lnTo>
                <a:lnTo>
                  <a:pt x="498551" y="286342"/>
                </a:lnTo>
                <a:lnTo>
                  <a:pt x="141433" y="286342"/>
                </a:lnTo>
                <a:lnTo>
                  <a:pt x="0" y="206803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32400" tIns="0" rIns="0" bIns="0" anchor="ctr">
            <a:no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4D03AF2A-7195-41C4-BEDC-E20B0637AE3D}" type="slidenum">
              <a:rPr lang="fr-FR" noProof="1" dirty="0" smtClean="0"/>
              <a:pPr/>
              <a:t>‹N°›</a:t>
            </a:fld>
            <a:endParaRPr lang="fr-FR" noProof="1"/>
          </a:p>
        </p:txBody>
      </p:sp>
      <p:sp>
        <p:nvSpPr>
          <p:cNvPr id="14" name="Text Placeholder 51">
            <a:extLst>
              <a:ext uri="{FF2B5EF4-FFF2-40B4-BE49-F238E27FC236}">
                <a16:creationId xmlns:a16="http://schemas.microsoft.com/office/drawing/2014/main" id="{E83F540D-1514-8A9E-701D-5CEE9A109C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4681" y="408705"/>
            <a:ext cx="605956" cy="285750"/>
          </a:xfrm>
          <a:custGeom>
            <a:avLst/>
            <a:gdLst>
              <a:gd name="connsiteX0" fmla="*/ 0 w 605956"/>
              <a:gd name="connsiteY0" fmla="*/ 0 h 285750"/>
              <a:gd name="connsiteX1" fmla="*/ 605956 w 605956"/>
              <a:gd name="connsiteY1" fmla="*/ 0 h 285750"/>
              <a:gd name="connsiteX2" fmla="*/ 605956 w 605956"/>
              <a:gd name="connsiteY2" fmla="*/ 285750 h 285750"/>
              <a:gd name="connsiteX3" fmla="*/ 0 w 605956"/>
              <a:gd name="connsiteY3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956" h="285750">
                <a:moveTo>
                  <a:pt x="0" y="0"/>
                </a:moveTo>
                <a:lnTo>
                  <a:pt x="605956" y="0"/>
                </a:lnTo>
                <a:lnTo>
                  <a:pt x="605956" y="285750"/>
                </a:lnTo>
                <a:lnTo>
                  <a:pt x="0" y="28575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900" b="0" cap="none" baseline="0">
                <a:solidFill>
                  <a:schemeClr val="bg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 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1EE2C910-EDC2-213E-358B-55D477C646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24C8F30D-311A-5F48-9786-108D37044CB3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397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786BB16-8526-844B-6934-F925E636CFD7}"/>
              </a:ext>
            </a:extLst>
          </p:cNvPr>
          <p:cNvSpPr/>
          <p:nvPr userDrawn="1"/>
        </p:nvSpPr>
        <p:spPr>
          <a:xfrm>
            <a:off x="4914900" y="0"/>
            <a:ext cx="42291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727880-78A7-2376-5930-F6AE41569666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4" name="Title 17">
            <a:extLst>
              <a:ext uri="{FF2B5EF4-FFF2-40B4-BE49-F238E27FC236}">
                <a16:creationId xmlns:a16="http://schemas.microsoft.com/office/drawing/2014/main" id="{048FD9C7-966C-1875-ECC8-B10DEAAA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600" y="349200"/>
            <a:ext cx="3752150" cy="73866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C71DD07-1EC1-A3BE-E44D-456A3BCEB5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600" y="1120926"/>
            <a:ext cx="3752369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15" name="Chart Placeholder 16">
            <a:extLst>
              <a:ext uri="{FF2B5EF4-FFF2-40B4-BE49-F238E27FC236}">
                <a16:creationId xmlns:a16="http://schemas.microsoft.com/office/drawing/2014/main" id="{F47CE1F9-AFDB-8C06-7632-6C84C48E5C4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957600" y="1964118"/>
            <a:ext cx="3752150" cy="290888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graphique</a:t>
            </a:r>
          </a:p>
        </p:txBody>
      </p:sp>
      <p:sp>
        <p:nvSpPr>
          <p:cNvPr id="16" name="Text Placeholder 36">
            <a:extLst>
              <a:ext uri="{FF2B5EF4-FFF2-40B4-BE49-F238E27FC236}">
                <a16:creationId xmlns:a16="http://schemas.microsoft.com/office/drawing/2014/main" id="{A698F3C6-C29C-AD3C-931D-7421F0DAF3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7600" y="1563479"/>
            <a:ext cx="37043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Ceci est le titre d’un Graphique</a:t>
            </a:r>
          </a:p>
        </p:txBody>
      </p:sp>
      <p:pic>
        <p:nvPicPr>
          <p:cNvPr id="17" name="Graphic 76">
            <a:extLst>
              <a:ext uri="{FF2B5EF4-FFF2-40B4-BE49-F238E27FC236}">
                <a16:creationId xmlns:a16="http://schemas.microsoft.com/office/drawing/2014/main" id="{FDB45D72-958F-165D-415E-A97A32B4C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05E3BC8-B95C-55ED-F8AA-13B41B37678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033827E0-258A-2F15-2441-DCB9524C5F7E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7C36FE38-A059-1B81-EF7D-69B952F1F5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7026" y="1249562"/>
            <a:ext cx="3504849" cy="3171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71C81EB8-6B00-51C1-6B6E-879AD0921B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77026" y="979530"/>
            <a:ext cx="350484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Insérer text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5EDF8862-FBCD-D3B1-13C6-83BA08D6B5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5FEDF926-58F2-944A-989B-D3235BC028C7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6687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76">
            <a:extLst>
              <a:ext uri="{FF2B5EF4-FFF2-40B4-BE49-F238E27FC236}">
                <a16:creationId xmlns:a16="http://schemas.microsoft.com/office/drawing/2014/main" id="{12000BE0-34D5-48E3-94A2-76EC30036C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095AF98-78FF-0A18-EF19-809E465405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63AC1ED4-6B28-0B61-2795-200C1F103287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C322EB-C6A6-3948-85E4-F4D4F3DF56D4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615A7F-94FA-7350-A68E-3DDDEA0E127B}"/>
              </a:ext>
            </a:extLst>
          </p:cNvPr>
          <p:cNvSpPr>
            <a:spLocks/>
          </p:cNvSpPr>
          <p:nvPr userDrawn="1"/>
        </p:nvSpPr>
        <p:spPr>
          <a:xfrm flipV="1">
            <a:off x="4671234" y="3082889"/>
            <a:ext cx="4018291" cy="14966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3D6F3C-2F46-0F50-69EC-63A71593275A}"/>
              </a:ext>
            </a:extLst>
          </p:cNvPr>
          <p:cNvSpPr>
            <a:spLocks/>
          </p:cNvSpPr>
          <p:nvPr userDrawn="1"/>
        </p:nvSpPr>
        <p:spPr>
          <a:xfrm flipH="1" flipV="1">
            <a:off x="673766" y="3082888"/>
            <a:ext cx="3798999" cy="14966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12B2D8-BCB8-F5E1-1E7C-00802BA569D5}"/>
              </a:ext>
            </a:extLst>
          </p:cNvPr>
          <p:cNvSpPr>
            <a:spLocks/>
          </p:cNvSpPr>
          <p:nvPr userDrawn="1"/>
        </p:nvSpPr>
        <p:spPr>
          <a:xfrm>
            <a:off x="4671234" y="1426172"/>
            <a:ext cx="4018291" cy="14966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0DA67D3-391A-4A09-6F6D-175E17A04AB3}"/>
              </a:ext>
            </a:extLst>
          </p:cNvPr>
          <p:cNvSpPr>
            <a:spLocks/>
          </p:cNvSpPr>
          <p:nvPr userDrawn="1"/>
        </p:nvSpPr>
        <p:spPr>
          <a:xfrm flipH="1">
            <a:off x="673767" y="1426172"/>
            <a:ext cx="3798998" cy="14966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812896-6C23-9E7E-CD13-97FDBBEB754C}"/>
              </a:ext>
            </a:extLst>
          </p:cNvPr>
          <p:cNvSpPr/>
          <p:nvPr userDrawn="1"/>
        </p:nvSpPr>
        <p:spPr>
          <a:xfrm>
            <a:off x="993559" y="1387929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A2C362-51DA-9348-3B93-D8A2F92135C4}"/>
              </a:ext>
            </a:extLst>
          </p:cNvPr>
          <p:cNvSpPr/>
          <p:nvPr userDrawn="1"/>
        </p:nvSpPr>
        <p:spPr>
          <a:xfrm>
            <a:off x="5101600" y="1387929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6B12EB9-18FB-7751-EF05-EAEB19BBBF4E}"/>
              </a:ext>
            </a:extLst>
          </p:cNvPr>
          <p:cNvSpPr/>
          <p:nvPr userDrawn="1"/>
        </p:nvSpPr>
        <p:spPr>
          <a:xfrm>
            <a:off x="884841" y="304464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35A12D0-515A-3B0F-7B30-D6187F7FFEE2}"/>
              </a:ext>
            </a:extLst>
          </p:cNvPr>
          <p:cNvSpPr/>
          <p:nvPr userDrawn="1"/>
        </p:nvSpPr>
        <p:spPr>
          <a:xfrm>
            <a:off x="5101600" y="3044646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9" name="Text Placeholder 36">
            <a:extLst>
              <a:ext uri="{FF2B5EF4-FFF2-40B4-BE49-F238E27FC236}">
                <a16:creationId xmlns:a16="http://schemas.microsoft.com/office/drawing/2014/main" id="{C4E2524F-61DE-95BC-7770-4E674B7A0F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559" y="1667944"/>
            <a:ext cx="315755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FORCES</a:t>
            </a:r>
          </a:p>
        </p:txBody>
      </p:sp>
      <p:sp>
        <p:nvSpPr>
          <p:cNvPr id="20" name="Text Placeholder 36">
            <a:extLst>
              <a:ext uri="{FF2B5EF4-FFF2-40B4-BE49-F238E27FC236}">
                <a16:creationId xmlns:a16="http://schemas.microsoft.com/office/drawing/2014/main" id="{32C9A1F1-8073-10E6-AAD5-59C746C957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559" y="1840317"/>
            <a:ext cx="3157559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647298AD-651C-4A7A-640A-30B46CB0E1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1600" y="1667944"/>
            <a:ext cx="315755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FAIBLESSES</a:t>
            </a:r>
          </a:p>
        </p:txBody>
      </p:sp>
      <p:sp>
        <p:nvSpPr>
          <p:cNvPr id="22" name="Text Placeholder 36">
            <a:extLst>
              <a:ext uri="{FF2B5EF4-FFF2-40B4-BE49-F238E27FC236}">
                <a16:creationId xmlns:a16="http://schemas.microsoft.com/office/drawing/2014/main" id="{1A092DCE-8B92-5FE9-3C15-35AACCC5A7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01600" y="1840317"/>
            <a:ext cx="3157559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23" name="Text Placeholder 36">
            <a:extLst>
              <a:ext uri="{FF2B5EF4-FFF2-40B4-BE49-F238E27FC236}">
                <a16:creationId xmlns:a16="http://schemas.microsoft.com/office/drawing/2014/main" id="{F3DB11C0-344F-3130-7C2B-6AD785BC13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3559" y="3318248"/>
            <a:ext cx="315755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OPPORTUNITES</a:t>
            </a:r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18487982-D496-D215-F319-16BA7E09BD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3559" y="3497034"/>
            <a:ext cx="3157559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9C71986B-F58D-BADE-6136-D27E71C7B2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01600" y="3318248"/>
            <a:ext cx="315755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2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MENACES</a:t>
            </a:r>
          </a:p>
        </p:txBody>
      </p:sp>
      <p:sp>
        <p:nvSpPr>
          <p:cNvPr id="26" name="Text Placeholder 36">
            <a:extLst>
              <a:ext uri="{FF2B5EF4-FFF2-40B4-BE49-F238E27FC236}">
                <a16:creationId xmlns:a16="http://schemas.microsoft.com/office/drawing/2014/main" id="{6284C385-EB6F-E7A5-F6CB-246A55657C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01600" y="3497034"/>
            <a:ext cx="3157559" cy="9233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none" baseline="0">
                <a:solidFill>
                  <a:schemeClr val="tx1"/>
                </a:solidFill>
                <a:latin typeface="+mn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b="0" i="0" noProof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sérer texte</a:t>
            </a:r>
            <a:endParaRPr lang="fr-FR" noProof="1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0DCF80F-D7CD-8E95-3EFE-3531FD4D9B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28" name="Title 17">
            <a:extLst>
              <a:ext uri="{FF2B5EF4-FFF2-40B4-BE49-F238E27FC236}">
                <a16:creationId xmlns:a16="http://schemas.microsoft.com/office/drawing/2014/main" id="{17F2DC34-793F-0FB0-83F0-A44051EF00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60734CE-D41A-B246-E534-4A13FAB17C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B8C625DE-437E-094B-A597-AEB3D4058AAB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2490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76">
            <a:extLst>
              <a:ext uri="{FF2B5EF4-FFF2-40B4-BE49-F238E27FC236}">
                <a16:creationId xmlns:a16="http://schemas.microsoft.com/office/drawing/2014/main" id="{095580DD-BA23-6997-958B-E850869DB7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601CEC5-86C2-CEEB-574B-589E30516A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6F220CCF-A49F-3506-A4B8-AD853FC15A32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D5E5EA-E80A-1FDF-CCC3-6A7130C1E167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FC1AD0-63CB-96AD-C9BC-D8F4FB68CDFF}"/>
              </a:ext>
            </a:extLst>
          </p:cNvPr>
          <p:cNvSpPr>
            <a:spLocks/>
          </p:cNvSpPr>
          <p:nvPr userDrawn="1"/>
        </p:nvSpPr>
        <p:spPr>
          <a:xfrm flipH="1">
            <a:off x="466722" y="1392528"/>
            <a:ext cx="1980000" cy="29576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2D2278-DD2E-34EE-135B-D5AF73D0E481}"/>
              </a:ext>
            </a:extLst>
          </p:cNvPr>
          <p:cNvSpPr>
            <a:spLocks/>
          </p:cNvSpPr>
          <p:nvPr userDrawn="1"/>
        </p:nvSpPr>
        <p:spPr>
          <a:xfrm>
            <a:off x="2543574" y="1392528"/>
            <a:ext cx="1980000" cy="2957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AA8F3C4-E342-2137-E419-CB05A6BE1BBF}"/>
              </a:ext>
            </a:extLst>
          </p:cNvPr>
          <p:cNvSpPr>
            <a:spLocks/>
          </p:cNvSpPr>
          <p:nvPr userDrawn="1"/>
        </p:nvSpPr>
        <p:spPr>
          <a:xfrm flipH="1">
            <a:off x="4620426" y="1392528"/>
            <a:ext cx="1980000" cy="29576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1A40691-6DE9-A7DB-BE11-AD3819CB07A6}"/>
              </a:ext>
            </a:extLst>
          </p:cNvPr>
          <p:cNvSpPr>
            <a:spLocks/>
          </p:cNvSpPr>
          <p:nvPr userDrawn="1"/>
        </p:nvSpPr>
        <p:spPr>
          <a:xfrm>
            <a:off x="6697278" y="1392528"/>
            <a:ext cx="1980000" cy="2957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50000" noProof="1">
              <a:ln>
                <a:noFill/>
              </a:ln>
              <a:solidFill>
                <a:srgbClr val="F0869D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9F88DB4-61A4-5E6E-F86E-865C6CE45A03}"/>
              </a:ext>
            </a:extLst>
          </p:cNvPr>
          <p:cNvSpPr/>
          <p:nvPr userDrawn="1"/>
        </p:nvSpPr>
        <p:spPr>
          <a:xfrm>
            <a:off x="1186722" y="1356528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B72182B-822D-4B46-916C-2C27DF25F368}"/>
              </a:ext>
            </a:extLst>
          </p:cNvPr>
          <p:cNvSpPr/>
          <p:nvPr userDrawn="1"/>
        </p:nvSpPr>
        <p:spPr>
          <a:xfrm>
            <a:off x="3312000" y="1356528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570973F-EA8D-0EAA-59B0-26B6470577CF}"/>
              </a:ext>
            </a:extLst>
          </p:cNvPr>
          <p:cNvSpPr/>
          <p:nvPr userDrawn="1"/>
        </p:nvSpPr>
        <p:spPr>
          <a:xfrm>
            <a:off x="5340426" y="1356528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0C0B56F-D9C4-C6C4-8717-A9EB8F27C3CE}"/>
              </a:ext>
            </a:extLst>
          </p:cNvPr>
          <p:cNvSpPr/>
          <p:nvPr userDrawn="1"/>
        </p:nvSpPr>
        <p:spPr>
          <a:xfrm>
            <a:off x="7417278" y="1356528"/>
            <a:ext cx="540000" cy="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sp>
        <p:nvSpPr>
          <p:cNvPr id="24" name="Text Placeholder 36">
            <a:extLst>
              <a:ext uri="{FF2B5EF4-FFF2-40B4-BE49-F238E27FC236}">
                <a16:creationId xmlns:a16="http://schemas.microsoft.com/office/drawing/2014/main" id="{D694D5BE-9380-7B81-5E61-1BB1DF18B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087" y="1593949"/>
            <a:ext cx="1573270" cy="16927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FORC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3643D51C-E656-39BC-C9DD-FB0D233BFC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600" y="758370"/>
            <a:ext cx="7192800" cy="169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latin typeface="+mj-lt"/>
              </a:defRPr>
            </a:lvl1pPr>
          </a:lstStyle>
          <a:p>
            <a:pPr lvl="0"/>
            <a:r>
              <a:rPr lang="fr-FR" noProof="1"/>
              <a:t>Ceci est le sous-titre de la diapositive</a:t>
            </a:r>
          </a:p>
        </p:txBody>
      </p:sp>
      <p:sp>
        <p:nvSpPr>
          <p:cNvPr id="26" name="Title 17">
            <a:extLst>
              <a:ext uri="{FF2B5EF4-FFF2-40B4-BE49-F238E27FC236}">
                <a16:creationId xmlns:a16="http://schemas.microsoft.com/office/drawing/2014/main" id="{9B4BF51A-3EDE-9FE5-C32A-CD17F911A3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sp>
        <p:nvSpPr>
          <p:cNvPr id="27" name="Text Placeholder 36">
            <a:extLst>
              <a:ext uri="{FF2B5EF4-FFF2-40B4-BE49-F238E27FC236}">
                <a16:creationId xmlns:a16="http://schemas.microsoft.com/office/drawing/2014/main" id="{4CAFA28A-0EF0-FBC1-1CBF-377044B3A6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0087" y="1868578"/>
            <a:ext cx="1573270" cy="22467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1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0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537D7C0E-475A-4567-F8FD-F677E9CEAC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6939" y="1593949"/>
            <a:ext cx="1573270" cy="16927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FAIBLESSES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DC383C3A-2739-7631-08D7-3FA39407E7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46939" y="1868578"/>
            <a:ext cx="1573270" cy="22467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1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0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0" name="Text Placeholder 36">
            <a:extLst>
              <a:ext uri="{FF2B5EF4-FFF2-40B4-BE49-F238E27FC236}">
                <a16:creationId xmlns:a16="http://schemas.microsoft.com/office/drawing/2014/main" id="{981424C6-E2E8-724B-CF71-4C6DFAF86D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23791" y="1593949"/>
            <a:ext cx="1573270" cy="16927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OPPORTUNITES</a:t>
            </a:r>
          </a:p>
        </p:txBody>
      </p:sp>
      <p:sp>
        <p:nvSpPr>
          <p:cNvPr id="31" name="Text Placeholder 36">
            <a:extLst>
              <a:ext uri="{FF2B5EF4-FFF2-40B4-BE49-F238E27FC236}">
                <a16:creationId xmlns:a16="http://schemas.microsoft.com/office/drawing/2014/main" id="{58ADE0D1-AC3F-B370-32CE-182F8699C0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23791" y="1868578"/>
            <a:ext cx="1573270" cy="22467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1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0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32" name="Text Placeholder 36">
            <a:extLst>
              <a:ext uri="{FF2B5EF4-FFF2-40B4-BE49-F238E27FC236}">
                <a16:creationId xmlns:a16="http://schemas.microsoft.com/office/drawing/2014/main" id="{0E37B8E5-6D5B-4689-E116-3BB387A58D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00643" y="1593949"/>
            <a:ext cx="1573270" cy="16927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100" b="0" cap="all" baseline="0">
                <a:solidFill>
                  <a:schemeClr val="tx1"/>
                </a:solidFill>
                <a:latin typeface="+mj-lt"/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10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sz="105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MENACES</a:t>
            </a:r>
          </a:p>
        </p:txBody>
      </p:sp>
      <p:sp>
        <p:nvSpPr>
          <p:cNvPr id="33" name="Text Placeholder 36">
            <a:extLst>
              <a:ext uri="{FF2B5EF4-FFF2-40B4-BE49-F238E27FC236}">
                <a16:creationId xmlns:a16="http://schemas.microsoft.com/office/drawing/2014/main" id="{0CFAFB39-256E-5ABD-F113-6FE18910E8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0643" y="1868578"/>
            <a:ext cx="1573270" cy="22467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100">
                <a:solidFill>
                  <a:schemeClr val="tx1"/>
                </a:solidFill>
              </a:defRPr>
            </a:lvl1pPr>
            <a:lvl2pPr marL="3456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</a:defRPr>
            </a:lvl2pPr>
            <a:lvl3pPr marL="51840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000">
                <a:solidFill>
                  <a:schemeClr val="tx1"/>
                </a:solidFill>
              </a:defRPr>
            </a:lvl3pPr>
          </a:lstStyle>
          <a:p>
            <a:pPr lvl="0"/>
            <a:r>
              <a:rPr lang="fr-FR" noProof="1"/>
              <a:t>Premier niveau de texte</a:t>
            </a:r>
          </a:p>
          <a:p>
            <a:pPr lvl="1"/>
            <a:r>
              <a:rPr lang="fr-FR" noProof="1"/>
              <a:t>Deuxième niveau de texte</a:t>
            </a:r>
          </a:p>
          <a:p>
            <a:pPr lvl="2"/>
            <a:r>
              <a:rPr lang="fr-FR" noProof="1"/>
              <a:t>Troisième niveau de text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04B1656F-8365-0C2E-EAF3-490186C2F5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204A06BF-0155-3D4E-BBC3-6D3E7DD2D8E5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9356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17">
            <a:extLst>
              <a:ext uri="{FF2B5EF4-FFF2-40B4-BE49-F238E27FC236}">
                <a16:creationId xmlns:a16="http://schemas.microsoft.com/office/drawing/2014/main" id="{CCFFBE81-9B20-55ED-3419-DAB3F554C59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57599" y="349200"/>
            <a:ext cx="7192381" cy="369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 cap="all" baseline="0"/>
            </a:lvl1pPr>
          </a:lstStyle>
          <a:p>
            <a:r>
              <a:rPr lang="fr-FR" noProof="1"/>
              <a:t>CECI EST LE TITRE DE LA DIAPOSITIVE</a:t>
            </a:r>
          </a:p>
        </p:txBody>
      </p:sp>
      <p:pic>
        <p:nvPicPr>
          <p:cNvPr id="52" name="Graphic 76">
            <a:extLst>
              <a:ext uri="{FF2B5EF4-FFF2-40B4-BE49-F238E27FC236}">
                <a16:creationId xmlns:a16="http://schemas.microsoft.com/office/drawing/2014/main" id="{67C53633-A211-312E-9994-52CA5AB9D5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4681" y="408705"/>
            <a:ext cx="605956" cy="28575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8209B247-24E9-7600-E4DE-CF976807A82C}"/>
              </a:ext>
            </a:extLst>
          </p:cNvPr>
          <p:cNvSpPr/>
          <p:nvPr userDrawn="1"/>
        </p:nvSpPr>
        <p:spPr>
          <a:xfrm>
            <a:off x="0" y="349200"/>
            <a:ext cx="846000" cy="33552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4C6C788A-9C92-CAEE-F5EC-4D40A64BB0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645449" y="4729833"/>
            <a:ext cx="498551" cy="286342"/>
          </a:xfrm>
          <a:prstGeom prst="rect">
            <a:avLst/>
          </a:prstGeom>
        </p:spPr>
      </p:pic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8EA9CC03-47BB-8D60-5B85-9A16609A1E65}"/>
              </a:ext>
            </a:extLst>
          </p:cNvPr>
          <p:cNvSpPr txBox="1">
            <a:spLocks/>
          </p:cNvSpPr>
          <p:nvPr userDrawn="1"/>
        </p:nvSpPr>
        <p:spPr>
          <a:xfrm>
            <a:off x="8816975" y="4819143"/>
            <a:ext cx="187325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E731E4-944A-4221-B6D8-5A6D2D5B10C3}" type="slidenum">
              <a:rPr kumimoji="0" lang="fr-FR" sz="7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0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Picture Placeholder 8">
            <a:extLst>
              <a:ext uri="{FF2B5EF4-FFF2-40B4-BE49-F238E27FC236}">
                <a16:creationId xmlns:a16="http://schemas.microsoft.com/office/drawing/2014/main" id="{112F5A4C-C34C-680E-8A4D-937A2A5A732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66724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83" name="Picture Placeholder 8">
            <a:extLst>
              <a:ext uri="{FF2B5EF4-FFF2-40B4-BE49-F238E27FC236}">
                <a16:creationId xmlns:a16="http://schemas.microsoft.com/office/drawing/2014/main" id="{CA7000FE-7296-E6E9-A338-DB02AEFBBE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13302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84" name="Picture Placeholder 8">
            <a:extLst>
              <a:ext uri="{FF2B5EF4-FFF2-40B4-BE49-F238E27FC236}">
                <a16:creationId xmlns:a16="http://schemas.microsoft.com/office/drawing/2014/main" id="{3EF787FE-5F25-34F8-86CA-F9B32C3CC20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159880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85" name="Picture Placeholder 8">
            <a:extLst>
              <a:ext uri="{FF2B5EF4-FFF2-40B4-BE49-F238E27FC236}">
                <a16:creationId xmlns:a16="http://schemas.microsoft.com/office/drawing/2014/main" id="{8DE43BCE-0165-EC08-6C57-DDA88BA522C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006458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86" name="Picture Placeholder 8">
            <a:extLst>
              <a:ext uri="{FF2B5EF4-FFF2-40B4-BE49-F238E27FC236}">
                <a16:creationId xmlns:a16="http://schemas.microsoft.com/office/drawing/2014/main" id="{113E675A-589C-4C66-ED20-1B8D9C72AA8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853036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87" name="Picture Placeholder 8">
            <a:extLst>
              <a:ext uri="{FF2B5EF4-FFF2-40B4-BE49-F238E27FC236}">
                <a16:creationId xmlns:a16="http://schemas.microsoft.com/office/drawing/2014/main" id="{F9BCBF6C-F36B-7BF9-A00C-19B4BDCF01E9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699614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88" name="Picture Placeholder 8">
            <a:extLst>
              <a:ext uri="{FF2B5EF4-FFF2-40B4-BE49-F238E27FC236}">
                <a16:creationId xmlns:a16="http://schemas.microsoft.com/office/drawing/2014/main" id="{C005D423-C082-87A5-DC43-4E447E6F95A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546192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89" name="Picture Placeholder 8">
            <a:extLst>
              <a:ext uri="{FF2B5EF4-FFF2-40B4-BE49-F238E27FC236}">
                <a16:creationId xmlns:a16="http://schemas.microsoft.com/office/drawing/2014/main" id="{131A2ED6-5546-A1B5-C2AB-CA4929F1893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392770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90" name="Picture Placeholder 8">
            <a:extLst>
              <a:ext uri="{FF2B5EF4-FFF2-40B4-BE49-F238E27FC236}">
                <a16:creationId xmlns:a16="http://schemas.microsoft.com/office/drawing/2014/main" id="{79A084E6-5AEA-F28C-8DD9-B0FF1DEFF1B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239348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91" name="Picture Placeholder 8">
            <a:extLst>
              <a:ext uri="{FF2B5EF4-FFF2-40B4-BE49-F238E27FC236}">
                <a16:creationId xmlns:a16="http://schemas.microsoft.com/office/drawing/2014/main" id="{306A3A09-C0F5-8A76-2490-9FEAB2232725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085926" y="937372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2" name="Picture Placeholder 8">
            <a:extLst>
              <a:ext uri="{FF2B5EF4-FFF2-40B4-BE49-F238E27FC236}">
                <a16:creationId xmlns:a16="http://schemas.microsoft.com/office/drawing/2014/main" id="{DB2B413C-A046-37D1-2C2A-D451B98291CF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66724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3" name="Picture Placeholder 8">
            <a:extLst>
              <a:ext uri="{FF2B5EF4-FFF2-40B4-BE49-F238E27FC236}">
                <a16:creationId xmlns:a16="http://schemas.microsoft.com/office/drawing/2014/main" id="{76527CB4-CC05-6F52-C5D0-812A7B655B7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313302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4" name="Picture Placeholder 8">
            <a:extLst>
              <a:ext uri="{FF2B5EF4-FFF2-40B4-BE49-F238E27FC236}">
                <a16:creationId xmlns:a16="http://schemas.microsoft.com/office/drawing/2014/main" id="{AD2925DB-D07E-59C8-40D3-45DF398BA3B9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159880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5" name="Picture Placeholder 8">
            <a:extLst>
              <a:ext uri="{FF2B5EF4-FFF2-40B4-BE49-F238E27FC236}">
                <a16:creationId xmlns:a16="http://schemas.microsoft.com/office/drawing/2014/main" id="{530B506C-2A35-89D7-4EB1-E7BF1070255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006458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6" name="Picture Placeholder 8">
            <a:extLst>
              <a:ext uri="{FF2B5EF4-FFF2-40B4-BE49-F238E27FC236}">
                <a16:creationId xmlns:a16="http://schemas.microsoft.com/office/drawing/2014/main" id="{E25CE822-A29C-DD88-AE89-E040B19583B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853036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7" name="Picture Placeholder 8">
            <a:extLst>
              <a:ext uri="{FF2B5EF4-FFF2-40B4-BE49-F238E27FC236}">
                <a16:creationId xmlns:a16="http://schemas.microsoft.com/office/drawing/2014/main" id="{3229A04F-C2A2-B08E-85AA-07A4C4F8896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699614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8" name="Picture Placeholder 8">
            <a:extLst>
              <a:ext uri="{FF2B5EF4-FFF2-40B4-BE49-F238E27FC236}">
                <a16:creationId xmlns:a16="http://schemas.microsoft.com/office/drawing/2014/main" id="{1696AE1E-7AAE-A394-D1C4-6A5ED2F505E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46192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39" name="Picture Placeholder 8">
            <a:extLst>
              <a:ext uri="{FF2B5EF4-FFF2-40B4-BE49-F238E27FC236}">
                <a16:creationId xmlns:a16="http://schemas.microsoft.com/office/drawing/2014/main" id="{714C1B3A-D960-B2B2-C2EC-7DB02BF7791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392770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0" name="Picture Placeholder 8">
            <a:extLst>
              <a:ext uri="{FF2B5EF4-FFF2-40B4-BE49-F238E27FC236}">
                <a16:creationId xmlns:a16="http://schemas.microsoft.com/office/drawing/2014/main" id="{32B49DAC-C3B6-C55E-83BD-1E8E876A0F76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239348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1" name="Picture Placeholder 8">
            <a:extLst>
              <a:ext uri="{FF2B5EF4-FFF2-40B4-BE49-F238E27FC236}">
                <a16:creationId xmlns:a16="http://schemas.microsoft.com/office/drawing/2014/main" id="{3432A2EB-7C31-5D3A-B941-ED1AF4F3055A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085926" y="1697324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2" name="Picture Placeholder 8">
            <a:extLst>
              <a:ext uri="{FF2B5EF4-FFF2-40B4-BE49-F238E27FC236}">
                <a16:creationId xmlns:a16="http://schemas.microsoft.com/office/drawing/2014/main" id="{9E77E222-3480-170B-6E3D-AF6E99CC38D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66724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3" name="Picture Placeholder 8">
            <a:extLst>
              <a:ext uri="{FF2B5EF4-FFF2-40B4-BE49-F238E27FC236}">
                <a16:creationId xmlns:a16="http://schemas.microsoft.com/office/drawing/2014/main" id="{E076E0FA-5464-68B7-CAFA-4B7542D5B9AA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1313302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4" name="Picture Placeholder 8">
            <a:extLst>
              <a:ext uri="{FF2B5EF4-FFF2-40B4-BE49-F238E27FC236}">
                <a16:creationId xmlns:a16="http://schemas.microsoft.com/office/drawing/2014/main" id="{04C72A57-6B6C-3281-DC5A-37812B11BF8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2159880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5" name="Picture Placeholder 8">
            <a:extLst>
              <a:ext uri="{FF2B5EF4-FFF2-40B4-BE49-F238E27FC236}">
                <a16:creationId xmlns:a16="http://schemas.microsoft.com/office/drawing/2014/main" id="{AFDF0884-D581-F513-AF05-3F8308887262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006458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6" name="Picture Placeholder 8">
            <a:extLst>
              <a:ext uri="{FF2B5EF4-FFF2-40B4-BE49-F238E27FC236}">
                <a16:creationId xmlns:a16="http://schemas.microsoft.com/office/drawing/2014/main" id="{5DD13286-6F76-BB3D-EEAF-8EEF37B3EDD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853036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7" name="Picture Placeholder 8">
            <a:extLst>
              <a:ext uri="{FF2B5EF4-FFF2-40B4-BE49-F238E27FC236}">
                <a16:creationId xmlns:a16="http://schemas.microsoft.com/office/drawing/2014/main" id="{7D106C1D-3C7E-F449-B0D5-A53B20D271FA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99614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8" name="Picture Placeholder 8">
            <a:extLst>
              <a:ext uri="{FF2B5EF4-FFF2-40B4-BE49-F238E27FC236}">
                <a16:creationId xmlns:a16="http://schemas.microsoft.com/office/drawing/2014/main" id="{0B76E4BB-C52A-C620-5C1A-B9C17C88804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546192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49" name="Picture Placeholder 8">
            <a:extLst>
              <a:ext uri="{FF2B5EF4-FFF2-40B4-BE49-F238E27FC236}">
                <a16:creationId xmlns:a16="http://schemas.microsoft.com/office/drawing/2014/main" id="{8CBADFE9-9625-ACBE-241D-C0CDE9554AE1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6392770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0" name="Picture Placeholder 8">
            <a:extLst>
              <a:ext uri="{FF2B5EF4-FFF2-40B4-BE49-F238E27FC236}">
                <a16:creationId xmlns:a16="http://schemas.microsoft.com/office/drawing/2014/main" id="{6F10E5FB-3D17-D548-2736-DD64FC915EFA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7239348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1" name="Picture Placeholder 8">
            <a:extLst>
              <a:ext uri="{FF2B5EF4-FFF2-40B4-BE49-F238E27FC236}">
                <a16:creationId xmlns:a16="http://schemas.microsoft.com/office/drawing/2014/main" id="{1B74936F-0C5D-888A-D65B-AEE85EE72E4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085926" y="2457276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2" name="Picture Placeholder 8">
            <a:extLst>
              <a:ext uri="{FF2B5EF4-FFF2-40B4-BE49-F238E27FC236}">
                <a16:creationId xmlns:a16="http://schemas.microsoft.com/office/drawing/2014/main" id="{EABA20F2-7A77-ECA7-7C23-FAC31DA6AB1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66724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3" name="Picture Placeholder 8">
            <a:extLst>
              <a:ext uri="{FF2B5EF4-FFF2-40B4-BE49-F238E27FC236}">
                <a16:creationId xmlns:a16="http://schemas.microsoft.com/office/drawing/2014/main" id="{5721AA5E-B2EF-3491-D4BC-438DC6635AF8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313302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4" name="Picture Placeholder 8">
            <a:extLst>
              <a:ext uri="{FF2B5EF4-FFF2-40B4-BE49-F238E27FC236}">
                <a16:creationId xmlns:a16="http://schemas.microsoft.com/office/drawing/2014/main" id="{712AA01C-2720-AE98-5340-9F7C2C705E35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2159880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5" name="Picture Placeholder 8">
            <a:extLst>
              <a:ext uri="{FF2B5EF4-FFF2-40B4-BE49-F238E27FC236}">
                <a16:creationId xmlns:a16="http://schemas.microsoft.com/office/drawing/2014/main" id="{6F6D08A1-CF35-6483-2329-4743B0AD694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006458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6" name="Picture Placeholder 8">
            <a:extLst>
              <a:ext uri="{FF2B5EF4-FFF2-40B4-BE49-F238E27FC236}">
                <a16:creationId xmlns:a16="http://schemas.microsoft.com/office/drawing/2014/main" id="{30FE9707-A81F-5AEC-8B32-3D415CF87896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853036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7" name="Picture Placeholder 8">
            <a:extLst>
              <a:ext uri="{FF2B5EF4-FFF2-40B4-BE49-F238E27FC236}">
                <a16:creationId xmlns:a16="http://schemas.microsoft.com/office/drawing/2014/main" id="{FE98BAEA-37B5-AA89-6128-F91231A5B9AA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699614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8" name="Picture Placeholder 8">
            <a:extLst>
              <a:ext uri="{FF2B5EF4-FFF2-40B4-BE49-F238E27FC236}">
                <a16:creationId xmlns:a16="http://schemas.microsoft.com/office/drawing/2014/main" id="{2B51FD33-C447-158D-CC2D-C82C05627661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546192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59" name="Picture Placeholder 8">
            <a:extLst>
              <a:ext uri="{FF2B5EF4-FFF2-40B4-BE49-F238E27FC236}">
                <a16:creationId xmlns:a16="http://schemas.microsoft.com/office/drawing/2014/main" id="{A39414C9-7355-BA07-2C54-DDBD8061E8C9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6392770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0" name="Picture Placeholder 8">
            <a:extLst>
              <a:ext uri="{FF2B5EF4-FFF2-40B4-BE49-F238E27FC236}">
                <a16:creationId xmlns:a16="http://schemas.microsoft.com/office/drawing/2014/main" id="{34B97151-6186-E46A-1B1A-93A97B615414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7239348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1" name="Picture Placeholder 8">
            <a:extLst>
              <a:ext uri="{FF2B5EF4-FFF2-40B4-BE49-F238E27FC236}">
                <a16:creationId xmlns:a16="http://schemas.microsoft.com/office/drawing/2014/main" id="{E91A4920-C9BD-37DA-AB61-7F332F3884D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8085926" y="3217228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2" name="Picture Placeholder 8">
            <a:extLst>
              <a:ext uri="{FF2B5EF4-FFF2-40B4-BE49-F238E27FC236}">
                <a16:creationId xmlns:a16="http://schemas.microsoft.com/office/drawing/2014/main" id="{87548BF5-8EDD-6D2B-293C-72E31934E27E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67523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3" name="Picture Placeholder 8">
            <a:extLst>
              <a:ext uri="{FF2B5EF4-FFF2-40B4-BE49-F238E27FC236}">
                <a16:creationId xmlns:a16="http://schemas.microsoft.com/office/drawing/2014/main" id="{99E25492-5D50-206C-BE86-46A971F5770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1314101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4" name="Picture Placeholder 8">
            <a:extLst>
              <a:ext uri="{FF2B5EF4-FFF2-40B4-BE49-F238E27FC236}">
                <a16:creationId xmlns:a16="http://schemas.microsoft.com/office/drawing/2014/main" id="{D1A23302-E7AD-1F31-A221-5330278D348A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2160679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5" name="Picture Placeholder 8">
            <a:extLst>
              <a:ext uri="{FF2B5EF4-FFF2-40B4-BE49-F238E27FC236}">
                <a16:creationId xmlns:a16="http://schemas.microsoft.com/office/drawing/2014/main" id="{31345C04-81F2-6F1C-5936-B905D884767F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3007257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6" name="Picture Placeholder 8">
            <a:extLst>
              <a:ext uri="{FF2B5EF4-FFF2-40B4-BE49-F238E27FC236}">
                <a16:creationId xmlns:a16="http://schemas.microsoft.com/office/drawing/2014/main" id="{75F7912A-CA89-6B27-E9FC-766E709D84D7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3853835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7" name="Picture Placeholder 8">
            <a:extLst>
              <a:ext uri="{FF2B5EF4-FFF2-40B4-BE49-F238E27FC236}">
                <a16:creationId xmlns:a16="http://schemas.microsoft.com/office/drawing/2014/main" id="{CFC49D3D-A381-0F9A-C428-EE8E644AF4D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4700413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8" name="Picture Placeholder 8">
            <a:extLst>
              <a:ext uri="{FF2B5EF4-FFF2-40B4-BE49-F238E27FC236}">
                <a16:creationId xmlns:a16="http://schemas.microsoft.com/office/drawing/2014/main" id="{CA830A7C-C7F5-997D-970F-220C963A4BA2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5546991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69" name="Picture Placeholder 8">
            <a:extLst>
              <a:ext uri="{FF2B5EF4-FFF2-40B4-BE49-F238E27FC236}">
                <a16:creationId xmlns:a16="http://schemas.microsoft.com/office/drawing/2014/main" id="{712801E2-4AEA-ABB3-B39F-12C155F01AE3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6393569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70" name="Picture Placeholder 8">
            <a:extLst>
              <a:ext uri="{FF2B5EF4-FFF2-40B4-BE49-F238E27FC236}">
                <a16:creationId xmlns:a16="http://schemas.microsoft.com/office/drawing/2014/main" id="{1FB42E4A-3746-5F32-DDEB-9AA33AE687D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7240147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171" name="Picture Placeholder 8">
            <a:extLst>
              <a:ext uri="{FF2B5EF4-FFF2-40B4-BE49-F238E27FC236}">
                <a16:creationId xmlns:a16="http://schemas.microsoft.com/office/drawing/2014/main" id="{780B7D01-B0D9-9B52-A33E-22AA15F5513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8086725" y="3977181"/>
            <a:ext cx="591350" cy="591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000"/>
            </a:lvl1pPr>
          </a:lstStyle>
          <a:p>
            <a:r>
              <a:rPr lang="fr-FR" noProof="1"/>
              <a:t>Insérer icôn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53090BE-ADD4-0A64-3E84-B9F6ABC2B4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50253" y="4811449"/>
            <a:ext cx="153674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800" smtClean="0"/>
            </a:lvl1pPr>
          </a:lstStyle>
          <a:p>
            <a:pPr algn="r"/>
            <a:fld id="{EF474C7C-C8FD-B645-80C6-8AFEA5B175A8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0932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EA3055C5-1EBE-8357-5E4D-B89E6EF5FC7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28754" y="1"/>
            <a:ext cx="4415246" cy="5147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fr-FR" noProof="1"/>
              <a:t>Insérer imag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0E3E8B-8B25-9AE2-73DA-2795F5D2D219}"/>
              </a:ext>
            </a:extLst>
          </p:cNvPr>
          <p:cNvSpPr/>
          <p:nvPr userDrawn="1"/>
        </p:nvSpPr>
        <p:spPr>
          <a:xfrm>
            <a:off x="0" y="2366302"/>
            <a:ext cx="1328377" cy="41089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noProof="1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3CF773B-0081-556F-AA0D-9E100B6C66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9059" y="4156256"/>
            <a:ext cx="1270636" cy="600162"/>
          </a:xfrm>
          <a:prstGeom prst="rect">
            <a:avLst/>
          </a:prstGeom>
        </p:spPr>
      </p:pic>
      <p:sp>
        <p:nvSpPr>
          <p:cNvPr id="24" name="Title 22">
            <a:extLst>
              <a:ext uri="{FF2B5EF4-FFF2-40B4-BE49-F238E27FC236}">
                <a16:creationId xmlns:a16="http://schemas.microsoft.com/office/drawing/2014/main" id="{8B3498B9-74F0-E3F0-3C4E-61DD028BF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3339" y="2265168"/>
            <a:ext cx="3150452" cy="6131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fr-FR" noProof="1"/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19358370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1217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36BC612-E414-4B4E-324D-D19995A2889F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7F0397F-EA25-2A97-D382-844DF310E78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6C2AE31-3CDA-F432-F0EE-E213FBBD57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0DAA3E5D-DBF4-BFA6-9A51-589CE49B36F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D6133C7-1C3F-4F75-240D-1882A9EF46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sp>
        <p:nvSpPr>
          <p:cNvPr id="23" name="Title 5">
            <a:extLst>
              <a:ext uri="{FF2B5EF4-FFF2-40B4-BE49-F238E27FC236}">
                <a16:creationId xmlns:a16="http://schemas.microsoft.com/office/drawing/2014/main" id="{A850B843-D5EA-1F09-28FD-DB47F59B0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7943BEBE-C0F5-A4AD-F809-9E67D6DDF5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7350" y="0"/>
            <a:ext cx="4946650" cy="3414713"/>
          </a:xfrm>
          <a:prstGeom prst="rect">
            <a:avLst/>
          </a:prstGeom>
        </p:spPr>
      </p:pic>
      <p:pic>
        <p:nvPicPr>
          <p:cNvPr id="3" name="Picture Placeholder 11" descr="A person in a blue suit&#10;&#10;Description automatically generated">
            <a:extLst>
              <a:ext uri="{FF2B5EF4-FFF2-40B4-BE49-F238E27FC236}">
                <a16:creationId xmlns:a16="http://schemas.microsoft.com/office/drawing/2014/main" id="{45EB6632-FD57-BA66-7DD7-1D21D5F91E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76698" y="266700"/>
            <a:ext cx="2567302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102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5F2C9DD3-147E-C569-1785-D217F41751C7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32CF2821-1A18-8BC6-6A70-78BA60C334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3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1" name="Title 5">
            <a:extLst>
              <a:ext uri="{FF2B5EF4-FFF2-40B4-BE49-F238E27FC236}">
                <a16:creationId xmlns:a16="http://schemas.microsoft.com/office/drawing/2014/main" id="{4ECBFD39-1B9C-44A6-A5A9-A06F20346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E7352F09-0939-B851-C08E-4964A7FA58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1A4B08DB-97FE-1FD6-D675-009EA3D1CE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5CAEC69D-D6CE-5C29-8C1D-7AE10150CB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2" name="Picture Placeholder 7" descr="A person wearing glasses and smiling&#10;&#10;Description automatically generated">
            <a:extLst>
              <a:ext uri="{FF2B5EF4-FFF2-40B4-BE49-F238E27FC236}">
                <a16:creationId xmlns:a16="http://schemas.microsoft.com/office/drawing/2014/main" id="{D4454C46-6671-A22C-A337-4778340A290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97991" y="0"/>
            <a:ext cx="4946009" cy="3414233"/>
          </a:xfrm>
          <a:custGeom>
            <a:avLst/>
            <a:gdLst>
              <a:gd name="connsiteX0" fmla="*/ 0 w 4946009"/>
              <a:gd name="connsiteY0" fmla="*/ 0 h 3414233"/>
              <a:gd name="connsiteX1" fmla="*/ 4946009 w 4946009"/>
              <a:gd name="connsiteY1" fmla="*/ 0 h 3414233"/>
              <a:gd name="connsiteX2" fmla="*/ 4946009 w 4946009"/>
              <a:gd name="connsiteY2" fmla="*/ 3414233 h 3414233"/>
              <a:gd name="connsiteX3" fmla="*/ 0 w 4946009"/>
              <a:gd name="connsiteY3" fmla="*/ 3414233 h 3414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6009" h="3414233">
                <a:moveTo>
                  <a:pt x="0" y="0"/>
                </a:moveTo>
                <a:lnTo>
                  <a:pt x="4946009" y="0"/>
                </a:lnTo>
                <a:lnTo>
                  <a:pt x="4946009" y="3414233"/>
                </a:lnTo>
                <a:lnTo>
                  <a:pt x="0" y="3414233"/>
                </a:lnTo>
                <a:close/>
              </a:path>
            </a:pathLst>
          </a:custGeom>
        </p:spPr>
      </p:pic>
      <p:pic>
        <p:nvPicPr>
          <p:cNvPr id="3" name="Picture Placeholder 14" descr="A person wearing glasses and a plaid shirt&#10;&#10;Description automatically generated">
            <a:extLst>
              <a:ext uri="{FF2B5EF4-FFF2-40B4-BE49-F238E27FC236}">
                <a16:creationId xmlns:a16="http://schemas.microsoft.com/office/drawing/2014/main" id="{C14CC602-6105-A75B-226A-7458A9C6FA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689" t="-12420" r="-534"/>
          <a:stretch/>
        </p:blipFill>
        <p:spPr>
          <a:xfrm>
            <a:off x="6083300" y="266700"/>
            <a:ext cx="30607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075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BEA2F08-11A2-75B5-7B7F-9C50CE969748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7F28D52-5E15-E626-1060-8B93B10ED0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DC402C52-A572-D9BD-EA1D-06A2EAC8E6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E639DCA-95E8-AFA1-7C73-A2A2642F33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89E199B-1FF6-74EC-11B8-7F53473150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137924A-BEC9-0593-07CB-706CC9080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2" name="Picture Placeholder 12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1C54D6E8-5EC8-0C23-02B3-A0E123FBBA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20" r="2820"/>
          <a:stretch>
            <a:fillRect/>
          </a:stretch>
        </p:blipFill>
        <p:spPr>
          <a:xfrm>
            <a:off x="4197991" y="0"/>
            <a:ext cx="4946009" cy="3414233"/>
          </a:xfrm>
          <a:custGeom>
            <a:avLst/>
            <a:gdLst>
              <a:gd name="connsiteX0" fmla="*/ 0 w 4946009"/>
              <a:gd name="connsiteY0" fmla="*/ 0 h 3414233"/>
              <a:gd name="connsiteX1" fmla="*/ 4946009 w 4946009"/>
              <a:gd name="connsiteY1" fmla="*/ 0 h 3414233"/>
              <a:gd name="connsiteX2" fmla="*/ 4946009 w 4946009"/>
              <a:gd name="connsiteY2" fmla="*/ 3414233 h 3414233"/>
              <a:gd name="connsiteX3" fmla="*/ 0 w 4946009"/>
              <a:gd name="connsiteY3" fmla="*/ 3414233 h 3414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6009" h="3414233">
                <a:moveTo>
                  <a:pt x="0" y="0"/>
                </a:moveTo>
                <a:lnTo>
                  <a:pt x="4946009" y="0"/>
                </a:lnTo>
                <a:lnTo>
                  <a:pt x="4946009" y="3414233"/>
                </a:lnTo>
                <a:lnTo>
                  <a:pt x="0" y="3414233"/>
                </a:lnTo>
                <a:close/>
              </a:path>
            </a:pathLst>
          </a:custGeom>
        </p:spPr>
      </p:pic>
      <p:pic>
        <p:nvPicPr>
          <p:cNvPr id="3" name="Picture Placeholder 14" descr="A person in a white sweater&#10;&#10;Description automatically generated">
            <a:extLst>
              <a:ext uri="{FF2B5EF4-FFF2-40B4-BE49-F238E27FC236}">
                <a16:creationId xmlns:a16="http://schemas.microsoft.com/office/drawing/2014/main" id="{D68BC889-1136-8A99-73E4-D41D33842B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54" t="-6056" r="-3449"/>
          <a:stretch/>
        </p:blipFill>
        <p:spPr>
          <a:xfrm>
            <a:off x="6032500" y="266700"/>
            <a:ext cx="31115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3305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563CD77C-0A08-475C-D385-556870BB4D41}"/>
              </a:ext>
            </a:extLst>
          </p:cNvPr>
          <p:cNvSpPr>
            <a:spLocks/>
          </p:cNvSpPr>
          <p:nvPr userDrawn="1"/>
        </p:nvSpPr>
        <p:spPr>
          <a:xfrm>
            <a:off x="1" y="3414233"/>
            <a:ext cx="9144000" cy="1729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24EE0F3-BCC3-5291-F615-7AF9C57A23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1358" y="4018516"/>
            <a:ext cx="4521182" cy="24765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spc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D5C27D-1CDE-E82B-6B31-86FEF87A7F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729267"/>
            <a:ext cx="2933700" cy="168496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DFCDF4D4-4E0A-78C1-C296-8C7EF4140AC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61358" y="320590"/>
            <a:ext cx="2265477" cy="1066106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875923F-4715-592D-3F3E-E9EA8DAB83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16177" y="2063919"/>
            <a:ext cx="901346" cy="10156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#</a:t>
            </a:r>
            <a:endParaRPr lang="en-US" dirty="0"/>
          </a:p>
        </p:txBody>
      </p:sp>
      <p:pic>
        <p:nvPicPr>
          <p:cNvPr id="2" name="Picture Placeholder 12" descr="A person with glasses smiling&#10;&#10;Description automatically generated">
            <a:extLst>
              <a:ext uri="{FF2B5EF4-FFF2-40B4-BE49-F238E27FC236}">
                <a16:creationId xmlns:a16="http://schemas.microsoft.com/office/drawing/2014/main" id="{67223B3E-F0B2-8CFF-440F-3DE954AC35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68"/>
          <a:stretch/>
        </p:blipFill>
        <p:spPr>
          <a:xfrm>
            <a:off x="4197991" y="0"/>
            <a:ext cx="4946009" cy="3414233"/>
          </a:xfrm>
          <a:custGeom>
            <a:avLst/>
            <a:gdLst>
              <a:gd name="connsiteX0" fmla="*/ 0 w 4946009"/>
              <a:gd name="connsiteY0" fmla="*/ 0 h 3414233"/>
              <a:gd name="connsiteX1" fmla="*/ 4946009 w 4946009"/>
              <a:gd name="connsiteY1" fmla="*/ 0 h 3414233"/>
              <a:gd name="connsiteX2" fmla="*/ 4946009 w 4946009"/>
              <a:gd name="connsiteY2" fmla="*/ 3414233 h 3414233"/>
              <a:gd name="connsiteX3" fmla="*/ 0 w 4946009"/>
              <a:gd name="connsiteY3" fmla="*/ 3414233 h 3414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6009" h="3414233">
                <a:moveTo>
                  <a:pt x="0" y="0"/>
                </a:moveTo>
                <a:lnTo>
                  <a:pt x="4946009" y="0"/>
                </a:lnTo>
                <a:lnTo>
                  <a:pt x="4946009" y="3414233"/>
                </a:lnTo>
                <a:lnTo>
                  <a:pt x="0" y="3414233"/>
                </a:lnTo>
                <a:close/>
              </a:path>
            </a:pathLst>
          </a:custGeom>
        </p:spPr>
      </p:pic>
      <p:pic>
        <p:nvPicPr>
          <p:cNvPr id="3" name="Picture Placeholder 16" descr="A person holding a circular object&#10;&#10;Description automatically generated">
            <a:extLst>
              <a:ext uri="{FF2B5EF4-FFF2-40B4-BE49-F238E27FC236}">
                <a16:creationId xmlns:a16="http://schemas.microsoft.com/office/drawing/2014/main" id="{D511B99E-747E-8564-7F51-BA35460186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16" t="-14286" r="-885"/>
          <a:stretch/>
        </p:blipFill>
        <p:spPr>
          <a:xfrm>
            <a:off x="5486400" y="266700"/>
            <a:ext cx="3657600" cy="4876800"/>
          </a:xfrm>
          <a:prstGeom prst="rect">
            <a:avLst/>
          </a:prstGeom>
        </p:spPr>
      </p:pic>
      <p:sp>
        <p:nvSpPr>
          <p:cNvPr id="12" name="Title 5">
            <a:extLst>
              <a:ext uri="{FF2B5EF4-FFF2-40B4-BE49-F238E27FC236}">
                <a16:creationId xmlns:a16="http://schemas.microsoft.com/office/drawing/2014/main" id="{37448904-2DB0-55F8-E2CB-C52242AA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359" y="3724868"/>
            <a:ext cx="5344142" cy="11079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lnSpc>
                <a:spcPct val="100000"/>
              </a:lnSpc>
              <a:defRPr sz="3600" cap="all" baseline="0"/>
            </a:lvl1pPr>
          </a:lstStyle>
          <a:p>
            <a:r>
              <a:rPr lang="fr-FR" dirty="0"/>
              <a:t>CECI EST LE NOM DE LA SECTION</a:t>
            </a:r>
          </a:p>
        </p:txBody>
      </p:sp>
    </p:spTree>
    <p:extLst>
      <p:ext uri="{BB962C8B-B14F-4D97-AF65-F5344CB8AC3E}">
        <p14:creationId xmlns:p14="http://schemas.microsoft.com/office/powerpoint/2010/main" val="18835879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1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oleObject" Target="../embeddings/oleObject11.bin"/><Relationship Id="rId5" Type="http://schemas.openxmlformats.org/officeDocument/2006/relationships/tags" Target="../tags/tag12.x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tags" Target="../tags/tag13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34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41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47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6728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92800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6555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104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534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6040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0856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64654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808" r:id="rId2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46395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4183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361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6199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66" r:id="rId6"/>
    <p:sldLayoutId id="2147483767" r:id="rId7"/>
    <p:sldLayoutId id="2147483768" r:id="rId8"/>
    <p:sldLayoutId id="2147483772" r:id="rId9"/>
    <p:sldLayoutId id="2147483778" r:id="rId10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9090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48" r:id="rId2"/>
    <p:sldLayoutId id="2147483809" r:id="rId3"/>
    <p:sldLayoutId id="2147483810" r:id="rId4"/>
    <p:sldLayoutId id="2147483750" r:id="rId5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24359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804" r:id="rId2"/>
    <p:sldLayoutId id="2147483769" r:id="rId3"/>
    <p:sldLayoutId id="2147483805" r:id="rId4"/>
    <p:sldLayoutId id="2147483806" r:id="rId5"/>
    <p:sldLayoutId id="2147483770" r:id="rId6"/>
    <p:sldLayoutId id="2147483771" r:id="rId7"/>
    <p:sldLayoutId id="2147483807" r:id="rId8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B8778CF-9EB1-951B-0BA0-44C6D6A25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93695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778CF-9EB1-951B-0BA0-44C6D6A25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507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and person standing next to each other&#10;&#10;Description automatically generated">
            <a:extLst>
              <a:ext uri="{FF2B5EF4-FFF2-40B4-BE49-F238E27FC236}">
                <a16:creationId xmlns:a16="http://schemas.microsoft.com/office/drawing/2014/main" id="{D96F3552-9DF2-2448-3C65-74BEB1FEE33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FBD0107-56ED-67A1-BC4F-81D0388F4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66" y="2383392"/>
            <a:ext cx="3758755" cy="861774"/>
          </a:xfrm>
          <a:prstGeom prst="rect">
            <a:avLst/>
          </a:prstGeom>
        </p:spPr>
        <p:txBody>
          <a:bodyPr/>
          <a:lstStyle/>
          <a:p>
            <a:r>
              <a:rPr lang="fr-FR" noProof="1">
                <a:solidFill>
                  <a:schemeClr val="bg1"/>
                </a:solidFill>
              </a:rPr>
              <a:t>BLOC1 - INFETPP3: Sport Manager</a:t>
            </a:r>
            <a:br>
              <a:rPr lang="fr-FR" noProof="1">
                <a:solidFill>
                  <a:schemeClr val="bg1"/>
                </a:solidFill>
              </a:rPr>
            </a:br>
            <a:br>
              <a:rPr lang="fr-FR" noProof="1">
                <a:solidFill>
                  <a:schemeClr val="bg1"/>
                </a:solidFill>
              </a:rPr>
            </a:br>
            <a:r>
              <a:rPr lang="fr-FR" noProof="1">
                <a:solidFill>
                  <a:schemeClr val="bg1"/>
                </a:solidFill>
              </a:rPr>
              <a:t>J1</a:t>
            </a:r>
            <a:endParaRPr lang="fr-FR" noProof="1">
              <a:solidFill>
                <a:schemeClr val="accent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0D7946-1C76-9B7E-925F-0D4DD18E76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ctr" defTabSz="685800">
              <a:buFont typeface="Arial" panose="020B0604020202020204" pitchFamily="34" charset="0"/>
              <a:buNone/>
            </a:pPr>
            <a:fld id="{357D394E-272C-F34C-A9CB-86C06F60C082}" type="datetime2">
              <a:rPr lang="fr-FR" smtClean="0"/>
              <a:t>mardi 4 novembre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262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445CAD2-9EC0-7CF1-B046-6CEDA1AE9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roupe + planning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BA2DA9B-E98A-47FF-03A6-7B6C5DEE3F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84F78D1-05E4-AAB2-A365-1214533338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8F01C088-38F8-674F-8026-5995C11E19E0}" type="datetime2">
              <a:rPr lang="fr-FR" smtClean="0"/>
              <a:t>mardi 4 novembre 2025</a:t>
            </a:fld>
            <a:endParaRPr lang="en-US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BE9269-1D5F-627B-470D-A66FC93742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fr-FR" sz="1800" dirty="0">
                <a:effectLst/>
                <a:latin typeface="Calibri" panose="020F0502020204030204" pitchFamily="34" charset="0"/>
              </a:rPr>
              <a:t>Groupes:</a:t>
            </a:r>
          </a:p>
          <a:p>
            <a:pPr lvl="1" fontAlgn="ctr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700" dirty="0">
                <a:effectLst/>
                <a:latin typeface="Calibri" panose="020F0502020204030204" pitchFamily="34" charset="0"/>
              </a:rPr>
              <a:t>2 Groupe de 3 </a:t>
            </a:r>
          </a:p>
          <a:p>
            <a:pPr lvl="1" fontAlgn="ctr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700" dirty="0">
                <a:effectLst/>
                <a:latin typeface="Calibri" panose="020F0502020204030204" pitchFamily="34" charset="0"/>
              </a:rPr>
              <a:t>1 groupe de 4 (dont 1 </a:t>
            </a:r>
            <a:r>
              <a:rPr lang="fr-FR" sz="1700" dirty="0" err="1">
                <a:effectLst/>
                <a:latin typeface="Calibri" panose="020F0502020204030204" pitchFamily="34" charset="0"/>
              </a:rPr>
              <a:t>Yousra</a:t>
            </a:r>
            <a:r>
              <a:rPr lang="fr-FR" sz="1700" dirty="0">
                <a:effectLst/>
                <a:latin typeface="Calibri" panose="020F0502020204030204" pitchFamily="34" charset="0"/>
              </a:rPr>
              <a:t>/Zakaria)</a:t>
            </a:r>
          </a:p>
          <a:p>
            <a:endParaRPr lang="fr-FR" dirty="0"/>
          </a:p>
          <a:p>
            <a:r>
              <a:rPr lang="fr-FR" sz="1800" dirty="0">
                <a:effectLst/>
                <a:latin typeface="Calibri" panose="020F0502020204030204" pitchFamily="34" charset="0"/>
              </a:rPr>
              <a:t>Planning CESI</a:t>
            </a:r>
          </a:p>
          <a:p>
            <a:endParaRPr lang="fr-FR" dirty="0"/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3FA420E1-F41D-D011-140D-1115D71992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730118"/>
              </p:ext>
            </p:extLst>
          </p:nvPr>
        </p:nvGraphicFramePr>
        <p:xfrm>
          <a:off x="1304144" y="3093112"/>
          <a:ext cx="5565039" cy="1117600"/>
        </p:xfrm>
        <a:graphic>
          <a:graphicData uri="http://schemas.openxmlformats.org/drawingml/2006/table">
            <a:tbl>
              <a:tblPr/>
              <a:tblGrid>
                <a:gridCol w="777240">
                  <a:extLst>
                    <a:ext uri="{9D8B030D-6E8A-4147-A177-3AD203B41FA5}">
                      <a16:colId xmlns:a16="http://schemas.microsoft.com/office/drawing/2014/main" val="2810237092"/>
                    </a:ext>
                  </a:extLst>
                </a:gridCol>
                <a:gridCol w="609905">
                  <a:extLst>
                    <a:ext uri="{9D8B030D-6E8A-4147-A177-3AD203B41FA5}">
                      <a16:colId xmlns:a16="http://schemas.microsoft.com/office/drawing/2014/main" val="2719723493"/>
                    </a:ext>
                  </a:extLst>
                </a:gridCol>
                <a:gridCol w="715975">
                  <a:extLst>
                    <a:ext uri="{9D8B030D-6E8A-4147-A177-3AD203B41FA5}">
                      <a16:colId xmlns:a16="http://schemas.microsoft.com/office/drawing/2014/main" val="1051897057"/>
                    </a:ext>
                  </a:extLst>
                </a:gridCol>
                <a:gridCol w="1874520">
                  <a:extLst>
                    <a:ext uri="{9D8B030D-6E8A-4147-A177-3AD203B41FA5}">
                      <a16:colId xmlns:a16="http://schemas.microsoft.com/office/drawing/2014/main" val="4183369465"/>
                    </a:ext>
                  </a:extLst>
                </a:gridCol>
                <a:gridCol w="1131113">
                  <a:extLst>
                    <a:ext uri="{9D8B030D-6E8A-4147-A177-3AD203B41FA5}">
                      <a16:colId xmlns:a16="http://schemas.microsoft.com/office/drawing/2014/main" val="150445714"/>
                    </a:ext>
                  </a:extLst>
                </a:gridCol>
                <a:gridCol w="456286">
                  <a:extLst>
                    <a:ext uri="{9D8B030D-6E8A-4147-A177-3AD203B41FA5}">
                      <a16:colId xmlns:a16="http://schemas.microsoft.com/office/drawing/2014/main" val="309037862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 04 nov 25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1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ETPP3 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jet fil rouge : "Sport Manager" : propulse ton équipe virtuelle 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1A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e m'initie à la programmation 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7550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 06 janv 26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2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ETPP3 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jet fil rouge : "Sport Manager" : propulse ton équipe virtuelle 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1A0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e m'initie à la programmation 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3396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0431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445CAD2-9EC0-7CF1-B046-6CEDA1AE9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ttendus J1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BA2DA9B-E98A-47FF-03A6-7B6C5DEE3F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84F78D1-05E4-AAB2-A365-1214533338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8F01C088-38F8-674F-8026-5995C11E19E0}" type="datetime2">
              <a:rPr lang="fr-FR" smtClean="0"/>
              <a:t>mardi 4 novembre 2025</a:t>
            </a:fld>
            <a:endParaRPr lang="en-US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BE9269-1D5F-627B-470D-A66FC93742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3739" y="1602360"/>
            <a:ext cx="7192382" cy="3082181"/>
          </a:xfrm>
        </p:spPr>
        <p:txBody>
          <a:bodyPr>
            <a:noAutofit/>
          </a:bodyPr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900" dirty="0">
                <a:effectLst/>
                <a:latin typeface="Calibri" panose="020F0502020204030204" pitchFamily="34" charset="0"/>
              </a:rPr>
              <a:t>Organisation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Groupes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Rôles dans le groupe (</a:t>
            </a:r>
            <a:r>
              <a:rPr lang="fr-FR" sz="900" dirty="0" err="1">
                <a:effectLst/>
                <a:latin typeface="Calibri" panose="020F0502020204030204" pitchFamily="34" charset="0"/>
              </a:rPr>
              <a:t>CdP</a:t>
            </a:r>
            <a:r>
              <a:rPr lang="fr-FR" sz="900" dirty="0">
                <a:effectLst/>
                <a:latin typeface="Calibri" panose="020F0502020204030204" pitchFamily="34" charset="0"/>
              </a:rPr>
              <a:t>, BDD, Algo…)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900" dirty="0">
                <a:effectLst/>
                <a:latin typeface="Calibri" panose="020F0502020204030204" pitchFamily="34" charset="0"/>
              </a:rPr>
              <a:t>Planification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Planning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WBS/</a:t>
            </a:r>
            <a:r>
              <a:rPr lang="fr-FR" sz="900" dirty="0" err="1">
                <a:effectLst/>
                <a:latin typeface="Calibri" panose="020F0502020204030204" pitchFamily="34" charset="0"/>
              </a:rPr>
              <a:t>Backlog</a:t>
            </a:r>
            <a:endParaRPr lang="fr-FR" sz="900" dirty="0">
              <a:effectLst/>
              <a:latin typeface="Calibri" panose="020F0502020204030204" pitchFamily="34" charset="0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Outils  de gestion de projet (Trello, Asana, Notion…)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RACI/Assignation </a:t>
            </a:r>
            <a:r>
              <a:rPr lang="fr-FR" sz="900" dirty="0" err="1">
                <a:effectLst/>
                <a:latin typeface="Calibri" panose="020F0502020204030204" pitchFamily="34" charset="0"/>
              </a:rPr>
              <a:t>backlog</a:t>
            </a:r>
            <a:endParaRPr lang="fr-FR" sz="90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900" dirty="0">
                <a:effectLst/>
                <a:latin typeface="Calibri" panose="020F0502020204030204" pitchFamily="34" charset="0"/>
              </a:rPr>
              <a:t>Etude technique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1er logigramme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1er MCD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Stack technique (Langages/Technos envisagés avec raisons de ces choix)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900" dirty="0">
                <a:effectLst/>
                <a:latin typeface="Calibri" panose="020F0502020204030204" pitchFamily="34" charset="0"/>
              </a:rPr>
              <a:t>Réalisation du projet :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Objectifs fixés 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Résultats attendus 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Livrables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Optionnel : Critères d'évaluation du projet / produit (indicateurs)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900" dirty="0">
                <a:effectLst/>
                <a:latin typeface="Calibri" panose="020F0502020204030204" pitchFamily="34" charset="0"/>
              </a:rPr>
              <a:t>Ressources/Risques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Contraintes et hypothèses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Estimation des moyens et des ressources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fr-FR" sz="900" dirty="0">
                <a:effectLst/>
                <a:latin typeface="Calibri" panose="020F0502020204030204" pitchFamily="34" charset="0"/>
              </a:rPr>
              <a:t>Liste des risques principaux</a:t>
            </a:r>
          </a:p>
        </p:txBody>
      </p:sp>
    </p:spTree>
    <p:extLst>
      <p:ext uri="{BB962C8B-B14F-4D97-AF65-F5344CB8AC3E}">
        <p14:creationId xmlns:p14="http://schemas.microsoft.com/office/powerpoint/2010/main" val="7437143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162000-C48B-9D70-9E5A-EF0363825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ERCI</a:t>
            </a:r>
          </a:p>
        </p:txBody>
      </p:sp>
      <p:pic>
        <p:nvPicPr>
          <p:cNvPr id="6" name="Espace réservé pour une image  5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1539027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uverture">
  <a:themeElements>
    <a:clrScheme name="Personnalisé 6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000000"/>
      </a:hlink>
      <a:folHlink>
        <a:srgbClr val="0070C0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3DC32DB4-DAD6-5349-898D-E026253E839E}"/>
    </a:ext>
  </a:extLst>
</a:theme>
</file>

<file path=ppt/theme/theme10.xml><?xml version="1.0" encoding="utf-8"?>
<a:theme xmlns:a="http://schemas.openxmlformats.org/drawingml/2006/main" name="Texte + Icône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8027B0C2-E86E-EA4C-A797-A325991E6A08}"/>
    </a:ext>
  </a:extLst>
</a:theme>
</file>

<file path=ppt/theme/theme11.xml><?xml version="1.0" encoding="utf-8"?>
<a:theme xmlns:a="http://schemas.openxmlformats.org/drawingml/2006/main" name="Graphique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637727D5-5941-334D-B1DE-0D5C782FED33}"/>
    </a:ext>
  </a:extLst>
</a:theme>
</file>

<file path=ppt/theme/theme12.xml><?xml version="1.0" encoding="utf-8"?>
<a:theme xmlns:a="http://schemas.openxmlformats.org/drawingml/2006/main" name="SWOT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0BE7EEA6-6D1A-6140-A128-8FCC32EBC4F6}"/>
    </a:ext>
  </a:extLst>
</a:theme>
</file>

<file path=ppt/theme/theme13.xml><?xml version="1.0" encoding="utf-8"?>
<a:theme xmlns:a="http://schemas.openxmlformats.org/drawingml/2006/main" name=" Icône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B0447222-42B6-E741-8A1A-A480B8101FFE}"/>
    </a:ext>
  </a:extLst>
</a:theme>
</file>

<file path=ppt/theme/theme14.xml><?xml version="1.0" encoding="utf-8"?>
<a:theme xmlns:a="http://schemas.openxmlformats.org/drawingml/2006/main" name="Merci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38CE0E67-F888-3046-9864-D2EDF659E3B5}"/>
    </a:ext>
  </a:extLst>
</a:theme>
</file>

<file path=ppt/theme/theme15.xml><?xml version="1.0" encoding="utf-8"?>
<a:theme xmlns:a="http://schemas.openxmlformats.org/drawingml/2006/main" name="Vide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C82DDECF-E0D5-E442-A531-5B4DA6DF222D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ommaire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E12FDD2F-677B-BA47-85FA-828C098E412D}"/>
    </a:ext>
  </a:extLst>
</a:theme>
</file>

<file path=ppt/theme/theme3.xml><?xml version="1.0" encoding="utf-8"?>
<a:theme xmlns:a="http://schemas.openxmlformats.org/drawingml/2006/main" name="Intercalaire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D19D9FCF-7F4A-5543-911E-96124777A157}"/>
    </a:ext>
  </a:extLst>
</a:theme>
</file>

<file path=ppt/theme/theme4.xml><?xml version="1.0" encoding="utf-8"?>
<a:theme xmlns:a="http://schemas.openxmlformats.org/drawingml/2006/main" name="Intercalaire Entreprise">
  <a:themeElements>
    <a:clrScheme name="Office Them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ustom 9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Prez CESI trame RDV -30.11_Pokeslide_V1" id="{EE34C7CB-7E45-7249-811B-6E03FEF24E0E}" vid="{AD93A8A7-7E97-BF4F-8809-AAC663CA7AA7}"/>
    </a:ext>
  </a:extLst>
</a:theme>
</file>

<file path=ppt/theme/theme5.xml><?xml version="1.0" encoding="utf-8"?>
<a:theme xmlns:a="http://schemas.openxmlformats.org/drawingml/2006/main" name="Texte Seul">
  <a:themeElements>
    <a:clrScheme name="Personnalisé 2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000000"/>
      </a:hlink>
      <a:folHlink>
        <a:srgbClr val="0070C0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C1233B74-C793-724E-AAAA-1A10C327928F}"/>
    </a:ext>
  </a:extLst>
</a:theme>
</file>

<file path=ppt/theme/theme6.xml><?xml version="1.0" encoding="utf-8"?>
<a:theme xmlns:a="http://schemas.openxmlformats.org/drawingml/2006/main" name="Text + Image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C2AACFB1-36FA-6E43-BE49-A40D92D04F44}"/>
    </a:ext>
  </a:extLst>
</a:theme>
</file>

<file path=ppt/theme/theme7.xml><?xml version="1.0" encoding="utf-8"?>
<a:theme xmlns:a="http://schemas.openxmlformats.org/drawingml/2006/main" name="Numéro de clé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CEECB9F0-C176-AA43-AD4D-A26CD896EC02}"/>
    </a:ext>
  </a:extLst>
</a:theme>
</file>

<file path=ppt/theme/theme8.xml><?xml version="1.0" encoding="utf-8"?>
<a:theme xmlns:a="http://schemas.openxmlformats.org/drawingml/2006/main" name="Blocs Textes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146CC176-85B6-2343-978F-801F974A5916}"/>
    </a:ext>
  </a:extLst>
</a:theme>
</file>

<file path=ppt/theme/theme9.xml><?xml version="1.0" encoding="utf-8"?>
<a:theme xmlns:a="http://schemas.openxmlformats.org/drawingml/2006/main" name="BIO">
  <a:themeElements>
    <a:clrScheme name="ceci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FBE216"/>
      </a:accent1>
      <a:accent2>
        <a:srgbClr val="AFA5D1"/>
      </a:accent2>
      <a:accent3>
        <a:srgbClr val="6DC6DA"/>
      </a:accent3>
      <a:accent4>
        <a:srgbClr val="F0869D"/>
      </a:accent4>
      <a:accent5>
        <a:srgbClr val="6FBC85"/>
      </a:accent5>
      <a:accent6>
        <a:srgbClr val="F5F5F5"/>
      </a:accent6>
      <a:hlink>
        <a:srgbClr val="FFFFFF"/>
      </a:hlink>
      <a:folHlink>
        <a:srgbClr val="FFFFFF"/>
      </a:folHlink>
    </a:clrScheme>
    <a:fontScheme name="cec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s_CESI_CORP_NEW_TRAME_Pokeslide_V1" id="{D67108FA-3B72-434C-B5A0-42826D187AA2}" vid="{6537BEB3-6BA3-7B47-8308-30AB31C562C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s_CESI_CORP_NEW_TRAME_Pokeslide_V1</Template>
  <TotalTime>4559</TotalTime>
  <Words>188</Words>
  <Application>Microsoft Office PowerPoint</Application>
  <PresentationFormat>Affichage à l'écran (16:9)</PresentationFormat>
  <Paragraphs>49</Paragraphs>
  <Slides>4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25" baseType="lpstr">
      <vt:lpstr>Arial</vt:lpstr>
      <vt:lpstr>Arial Black</vt:lpstr>
      <vt:lpstr>Calibri</vt:lpstr>
      <vt:lpstr>Courier New</vt:lpstr>
      <vt:lpstr>Wingdings</vt:lpstr>
      <vt:lpstr>Couverture</vt:lpstr>
      <vt:lpstr>Sommaire</vt:lpstr>
      <vt:lpstr>Intercalaire</vt:lpstr>
      <vt:lpstr>Intercalaire Entreprise</vt:lpstr>
      <vt:lpstr>Texte Seul</vt:lpstr>
      <vt:lpstr>Text + Image</vt:lpstr>
      <vt:lpstr>Numéro de clé</vt:lpstr>
      <vt:lpstr>Blocs Textes</vt:lpstr>
      <vt:lpstr>BIO</vt:lpstr>
      <vt:lpstr>Texte + Icône</vt:lpstr>
      <vt:lpstr>Graphique</vt:lpstr>
      <vt:lpstr>SWOT</vt:lpstr>
      <vt:lpstr> Icône</vt:lpstr>
      <vt:lpstr>Merci</vt:lpstr>
      <vt:lpstr>Vide</vt:lpstr>
      <vt:lpstr>think-cell Slide</vt:lpstr>
      <vt:lpstr>BLOC1 - INFETPP3: Sport Manager  J1</vt:lpstr>
      <vt:lpstr>Groupe + planning</vt:lpstr>
      <vt:lpstr>Attendus J1</vt:lpstr>
      <vt:lpstr>MERCI</vt:lpstr>
    </vt:vector>
  </TitlesOfParts>
  <Company>CE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E AUTRE IDÉE DE L’EXCELLENCE</dc:title>
  <dc:creator>MOUILLET Amandine</dc:creator>
  <cp:lastModifiedBy>PAVARD Laurent</cp:lastModifiedBy>
  <cp:revision>83</cp:revision>
  <cp:lastPrinted>2024-02-26T11:58:13Z</cp:lastPrinted>
  <dcterms:created xsi:type="dcterms:W3CDTF">2024-03-18T23:49:11Z</dcterms:created>
  <dcterms:modified xsi:type="dcterms:W3CDTF">2025-11-04T08:37:55Z</dcterms:modified>
</cp:coreProperties>
</file>